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0.xml" ContentType="application/vnd.openxmlformats-officedocument.theme+xml"/>
  <Override PartName="/ppt/slideLayouts/slideLayout59.xml" ContentType="application/vnd.openxmlformats-officedocument.presentationml.slideLayout+xml"/>
  <Override PartName="/ppt/theme/theme11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  <p:sldMasterId id="2147483695" r:id="rId5"/>
    <p:sldMasterId id="2147483703" r:id="rId6"/>
    <p:sldMasterId id="2147483708" r:id="rId7"/>
    <p:sldMasterId id="2147483715" r:id="rId8"/>
    <p:sldMasterId id="2147483725" r:id="rId9"/>
    <p:sldMasterId id="2147483737" r:id="rId10"/>
    <p:sldMasterId id="2147483746" r:id="rId11"/>
    <p:sldMasterId id="2147483754" r:id="rId12"/>
    <p:sldMasterId id="2147483757" r:id="rId13"/>
    <p:sldMasterId id="2147483766" r:id="rId14"/>
    <p:sldMasterId id="2147483771" r:id="rId15"/>
  </p:sldMasterIdLst>
  <p:notesMasterIdLst>
    <p:notesMasterId r:id="rId34"/>
  </p:notesMasterIdLst>
  <p:sldIdLst>
    <p:sldId id="275" r:id="rId16"/>
    <p:sldId id="6293" r:id="rId17"/>
    <p:sldId id="2147472109" r:id="rId18"/>
    <p:sldId id="2147472110" r:id="rId19"/>
    <p:sldId id="6299" r:id="rId20"/>
    <p:sldId id="2147472111" r:id="rId21"/>
    <p:sldId id="2147472112" r:id="rId22"/>
    <p:sldId id="2147472113" r:id="rId23"/>
    <p:sldId id="2147472114" r:id="rId24"/>
    <p:sldId id="2147472115" r:id="rId25"/>
    <p:sldId id="2147472116" r:id="rId26"/>
    <p:sldId id="2147472117" r:id="rId27"/>
    <p:sldId id="2147472118" r:id="rId28"/>
    <p:sldId id="2147472120" r:id="rId29"/>
    <p:sldId id="2147472121" r:id="rId30"/>
    <p:sldId id="2147472122" r:id="rId31"/>
    <p:sldId id="2147472123" r:id="rId32"/>
    <p:sldId id="2147472093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218E29-0F40-6859-5002-CB275A9EC267}" name="Lufuno Malala" initials="LM" userId="S::lufuno.malala@health.gov.za::4672d012-e803-4dd7-8731-15571aaf87f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obhan Wilson" initials="SW" lastIdx="1" clrIdx="0">
    <p:extLst>
      <p:ext uri="{19B8F6BF-5375-455C-9EA6-DF929625EA0E}">
        <p15:presenceInfo xmlns:p15="http://schemas.microsoft.com/office/powerpoint/2012/main" userId="S::wilsons@anovahealth.co.za::7eec7701-88fd-4d7e-bbb2-67446bb183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00"/>
    <a:srgbClr val="005C2A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F5B6EE-890C-43EA-AC7A-7DE23B966A78}" v="76" dt="2024-08-19T08:54:19.7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75" autoAdjust="0"/>
    <p:restoredTop sz="86775" autoAdjust="0"/>
  </p:normalViewPr>
  <p:slideViewPr>
    <p:cSldViewPr snapToGrid="0">
      <p:cViewPr varScale="1">
        <p:scale>
          <a:sx n="63" d="100"/>
          <a:sy n="63" d="100"/>
        </p:scale>
        <p:origin x="50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226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ableStyles" Target="tableStyles.xml"/><Relationship Id="rId21" Type="http://schemas.openxmlformats.org/officeDocument/2006/relationships/slide" Target="slides/slide6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155312-6F7B-4CAF-A7A8-3A88CB2B23DE}" type="doc">
      <dgm:prSet loTypeId="urn:microsoft.com/office/officeart/2005/8/layout/cycle8" loCatId="cycle" qsTypeId="urn:microsoft.com/office/officeart/2005/8/quickstyle/simple2" qsCatId="simple" csTypeId="urn:microsoft.com/office/officeart/2005/8/colors/accent3_3" csCatId="accent3" phldr="1"/>
      <dgm:spPr/>
    </dgm:pt>
    <dgm:pt modelId="{C42BB4D9-38F7-421F-976E-A5D6AB44220E}">
      <dgm:prSet phldrT="[Text]"/>
      <dgm:spPr/>
      <dgm:t>
        <a:bodyPr/>
        <a:lstStyle/>
        <a:p>
          <a:r>
            <a:rPr lang="en-ZA" dirty="0"/>
            <a:t>Monitoring and reporting</a:t>
          </a:r>
        </a:p>
      </dgm:t>
    </dgm:pt>
    <dgm:pt modelId="{68316DFE-3D70-4EB1-8960-818E9273A809}" type="parTrans" cxnId="{6F4962A3-DE33-4A50-9263-5D245B4EC839}">
      <dgm:prSet/>
      <dgm:spPr/>
      <dgm:t>
        <a:bodyPr/>
        <a:lstStyle/>
        <a:p>
          <a:endParaRPr lang="en-ZA"/>
        </a:p>
      </dgm:t>
    </dgm:pt>
    <dgm:pt modelId="{E11C3320-8E2F-4E66-9C87-63DCC9CFEC44}" type="sibTrans" cxnId="{6F4962A3-DE33-4A50-9263-5D245B4EC839}">
      <dgm:prSet/>
      <dgm:spPr/>
      <dgm:t>
        <a:bodyPr/>
        <a:lstStyle/>
        <a:p>
          <a:endParaRPr lang="en-ZA"/>
        </a:p>
      </dgm:t>
    </dgm:pt>
    <dgm:pt modelId="{F5CEBF99-B725-44F4-9377-1CF18F8C0B44}">
      <dgm:prSet phldrT="[Text]"/>
      <dgm:spPr/>
      <dgm:t>
        <a:bodyPr/>
        <a:lstStyle/>
        <a:p>
          <a:r>
            <a:rPr lang="en-ZA" dirty="0"/>
            <a:t>Learning Management System</a:t>
          </a:r>
        </a:p>
      </dgm:t>
    </dgm:pt>
    <dgm:pt modelId="{3B9FE8C4-BEEC-45EB-BCC6-FA84E14274F7}" type="parTrans" cxnId="{6E0F34AB-2373-48D0-A44A-95D05B50CE84}">
      <dgm:prSet/>
      <dgm:spPr/>
      <dgm:t>
        <a:bodyPr/>
        <a:lstStyle/>
        <a:p>
          <a:endParaRPr lang="en-ZA"/>
        </a:p>
      </dgm:t>
    </dgm:pt>
    <dgm:pt modelId="{1E164AFF-28FF-4F81-A87C-F0F6674CC7F3}" type="sibTrans" cxnId="{6E0F34AB-2373-48D0-A44A-95D05B50CE84}">
      <dgm:prSet/>
      <dgm:spPr/>
      <dgm:t>
        <a:bodyPr/>
        <a:lstStyle/>
        <a:p>
          <a:endParaRPr lang="en-ZA"/>
        </a:p>
      </dgm:t>
    </dgm:pt>
    <dgm:pt modelId="{BCB1943F-13B0-4BAB-86E4-B346E8E26534}">
      <dgm:prSet phldrT="[Text]"/>
      <dgm:spPr/>
      <dgm:t>
        <a:bodyPr/>
        <a:lstStyle/>
        <a:p>
          <a:r>
            <a:rPr lang="en-US" dirty="0"/>
            <a:t>TA Practitioner apps</a:t>
          </a:r>
          <a:endParaRPr lang="en-ZA" dirty="0"/>
        </a:p>
      </dgm:t>
    </dgm:pt>
    <dgm:pt modelId="{DD967C06-B338-4E7F-AA78-1C005DF0EB6A}" type="parTrans" cxnId="{596AC541-2951-4526-A9E8-951C1F3F5D98}">
      <dgm:prSet/>
      <dgm:spPr/>
      <dgm:t>
        <a:bodyPr/>
        <a:lstStyle/>
        <a:p>
          <a:endParaRPr lang="en-ZA"/>
        </a:p>
      </dgm:t>
    </dgm:pt>
    <dgm:pt modelId="{52D7CE42-DD4C-4B90-BD05-7DA1C0849CAC}" type="sibTrans" cxnId="{596AC541-2951-4526-A9E8-951C1F3F5D98}">
      <dgm:prSet/>
      <dgm:spPr/>
      <dgm:t>
        <a:bodyPr/>
        <a:lstStyle/>
        <a:p>
          <a:endParaRPr lang="en-ZA"/>
        </a:p>
      </dgm:t>
    </dgm:pt>
    <dgm:pt modelId="{784CC89D-C8CC-4C01-A6D8-6A5ED1C207BE}" type="pres">
      <dgm:prSet presAssocID="{1A155312-6F7B-4CAF-A7A8-3A88CB2B23DE}" presName="compositeShape" presStyleCnt="0">
        <dgm:presLayoutVars>
          <dgm:chMax val="7"/>
          <dgm:dir/>
          <dgm:resizeHandles val="exact"/>
        </dgm:presLayoutVars>
      </dgm:prSet>
      <dgm:spPr/>
    </dgm:pt>
    <dgm:pt modelId="{028ECA1D-B063-4440-A193-2D88682F8376}" type="pres">
      <dgm:prSet presAssocID="{1A155312-6F7B-4CAF-A7A8-3A88CB2B23DE}" presName="wedge1" presStyleLbl="node1" presStyleIdx="0" presStyleCnt="3"/>
      <dgm:spPr/>
    </dgm:pt>
    <dgm:pt modelId="{9EF6D7A7-BFA6-43C8-B00F-2202869809E3}" type="pres">
      <dgm:prSet presAssocID="{1A155312-6F7B-4CAF-A7A8-3A88CB2B23DE}" presName="dummy1a" presStyleCnt="0"/>
      <dgm:spPr/>
    </dgm:pt>
    <dgm:pt modelId="{A6EB81BB-E8ED-48C1-ACFB-F9873FF65ABC}" type="pres">
      <dgm:prSet presAssocID="{1A155312-6F7B-4CAF-A7A8-3A88CB2B23DE}" presName="dummy1b" presStyleCnt="0"/>
      <dgm:spPr/>
    </dgm:pt>
    <dgm:pt modelId="{7F67B4D3-C1FC-4D45-BF52-7B41BBF8D99C}" type="pres">
      <dgm:prSet presAssocID="{1A155312-6F7B-4CAF-A7A8-3A88CB2B23DE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07B8820-D9B0-4E81-83D7-949677FA750C}" type="pres">
      <dgm:prSet presAssocID="{1A155312-6F7B-4CAF-A7A8-3A88CB2B23DE}" presName="wedge2" presStyleLbl="node1" presStyleIdx="1" presStyleCnt="3"/>
      <dgm:spPr/>
    </dgm:pt>
    <dgm:pt modelId="{39E70368-D389-418A-8848-422CAEF1AC84}" type="pres">
      <dgm:prSet presAssocID="{1A155312-6F7B-4CAF-A7A8-3A88CB2B23DE}" presName="dummy2a" presStyleCnt="0"/>
      <dgm:spPr/>
    </dgm:pt>
    <dgm:pt modelId="{DB3939FC-46D9-4748-8714-AFF49A047659}" type="pres">
      <dgm:prSet presAssocID="{1A155312-6F7B-4CAF-A7A8-3A88CB2B23DE}" presName="dummy2b" presStyleCnt="0"/>
      <dgm:spPr/>
    </dgm:pt>
    <dgm:pt modelId="{518B3F54-8BB7-4C47-A4CA-A12C22682FCD}" type="pres">
      <dgm:prSet presAssocID="{1A155312-6F7B-4CAF-A7A8-3A88CB2B23DE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07CB4801-D478-4392-8130-5DACE099762E}" type="pres">
      <dgm:prSet presAssocID="{1A155312-6F7B-4CAF-A7A8-3A88CB2B23DE}" presName="wedge3" presStyleLbl="node1" presStyleIdx="2" presStyleCnt="3"/>
      <dgm:spPr/>
    </dgm:pt>
    <dgm:pt modelId="{1525915E-4309-49E3-A2DD-7833C0263105}" type="pres">
      <dgm:prSet presAssocID="{1A155312-6F7B-4CAF-A7A8-3A88CB2B23DE}" presName="dummy3a" presStyleCnt="0"/>
      <dgm:spPr/>
    </dgm:pt>
    <dgm:pt modelId="{645F0D2F-0993-47F8-AFD4-E4A8939EC0B0}" type="pres">
      <dgm:prSet presAssocID="{1A155312-6F7B-4CAF-A7A8-3A88CB2B23DE}" presName="dummy3b" presStyleCnt="0"/>
      <dgm:spPr/>
    </dgm:pt>
    <dgm:pt modelId="{E42E46ED-ED41-41D6-A0E5-1E64D7B46288}" type="pres">
      <dgm:prSet presAssocID="{1A155312-6F7B-4CAF-A7A8-3A88CB2B23DE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FD0182BE-AFC1-4D5B-A574-FE7311E2684E}" type="pres">
      <dgm:prSet presAssocID="{E11C3320-8E2F-4E66-9C87-63DCC9CFEC44}" presName="arrowWedge1" presStyleLbl="fgSibTrans2D1" presStyleIdx="0" presStyleCnt="3"/>
      <dgm:spPr/>
    </dgm:pt>
    <dgm:pt modelId="{68E9BCF7-AFC2-4D1A-B560-3E54CB1A4CF5}" type="pres">
      <dgm:prSet presAssocID="{1E164AFF-28FF-4F81-A87C-F0F6674CC7F3}" presName="arrowWedge2" presStyleLbl="fgSibTrans2D1" presStyleIdx="1" presStyleCnt="3"/>
      <dgm:spPr/>
    </dgm:pt>
    <dgm:pt modelId="{F3D5D5BF-4A64-4EED-A1D8-4C0DEA3F1C05}" type="pres">
      <dgm:prSet presAssocID="{52D7CE42-DD4C-4B90-BD05-7DA1C0849CAC}" presName="arrowWedge3" presStyleLbl="fgSibTrans2D1" presStyleIdx="2" presStyleCnt="3"/>
      <dgm:spPr/>
    </dgm:pt>
  </dgm:ptLst>
  <dgm:cxnLst>
    <dgm:cxn modelId="{670D0C0A-D69C-4ECD-B453-B86AFA5F46DD}" type="presOf" srcId="{C42BB4D9-38F7-421F-976E-A5D6AB44220E}" destId="{7F67B4D3-C1FC-4D45-BF52-7B41BBF8D99C}" srcOrd="1" destOrd="0" presId="urn:microsoft.com/office/officeart/2005/8/layout/cycle8"/>
    <dgm:cxn modelId="{64B2200A-8294-45EE-A28C-249646F5E131}" type="presOf" srcId="{F5CEBF99-B725-44F4-9377-1CF18F8C0B44}" destId="{B07B8820-D9B0-4E81-83D7-949677FA750C}" srcOrd="0" destOrd="0" presId="urn:microsoft.com/office/officeart/2005/8/layout/cycle8"/>
    <dgm:cxn modelId="{CE915F19-5BD2-418F-849D-ED2ED257CEB9}" type="presOf" srcId="{BCB1943F-13B0-4BAB-86E4-B346E8E26534}" destId="{E42E46ED-ED41-41D6-A0E5-1E64D7B46288}" srcOrd="1" destOrd="0" presId="urn:microsoft.com/office/officeart/2005/8/layout/cycle8"/>
    <dgm:cxn modelId="{63998F1E-AEF3-49AE-93E3-EFF792BA8E40}" type="presOf" srcId="{C42BB4D9-38F7-421F-976E-A5D6AB44220E}" destId="{028ECA1D-B063-4440-A193-2D88682F8376}" srcOrd="0" destOrd="0" presId="urn:microsoft.com/office/officeart/2005/8/layout/cycle8"/>
    <dgm:cxn modelId="{E2B79427-4037-4B84-A9FF-918152D918EA}" type="presOf" srcId="{BCB1943F-13B0-4BAB-86E4-B346E8E26534}" destId="{07CB4801-D478-4392-8130-5DACE099762E}" srcOrd="0" destOrd="0" presId="urn:microsoft.com/office/officeart/2005/8/layout/cycle8"/>
    <dgm:cxn modelId="{596AC541-2951-4526-A9E8-951C1F3F5D98}" srcId="{1A155312-6F7B-4CAF-A7A8-3A88CB2B23DE}" destId="{BCB1943F-13B0-4BAB-86E4-B346E8E26534}" srcOrd="2" destOrd="0" parTransId="{DD967C06-B338-4E7F-AA78-1C005DF0EB6A}" sibTransId="{52D7CE42-DD4C-4B90-BD05-7DA1C0849CAC}"/>
    <dgm:cxn modelId="{F1ED2C9C-74CB-4067-94A5-96B4BA36070F}" type="presOf" srcId="{1A155312-6F7B-4CAF-A7A8-3A88CB2B23DE}" destId="{784CC89D-C8CC-4C01-A6D8-6A5ED1C207BE}" srcOrd="0" destOrd="0" presId="urn:microsoft.com/office/officeart/2005/8/layout/cycle8"/>
    <dgm:cxn modelId="{6F4962A3-DE33-4A50-9263-5D245B4EC839}" srcId="{1A155312-6F7B-4CAF-A7A8-3A88CB2B23DE}" destId="{C42BB4D9-38F7-421F-976E-A5D6AB44220E}" srcOrd="0" destOrd="0" parTransId="{68316DFE-3D70-4EB1-8960-818E9273A809}" sibTransId="{E11C3320-8E2F-4E66-9C87-63DCC9CFEC44}"/>
    <dgm:cxn modelId="{6E0F34AB-2373-48D0-A44A-95D05B50CE84}" srcId="{1A155312-6F7B-4CAF-A7A8-3A88CB2B23DE}" destId="{F5CEBF99-B725-44F4-9377-1CF18F8C0B44}" srcOrd="1" destOrd="0" parTransId="{3B9FE8C4-BEEC-45EB-BCC6-FA84E14274F7}" sibTransId="{1E164AFF-28FF-4F81-A87C-F0F6674CC7F3}"/>
    <dgm:cxn modelId="{0AA473CD-3B18-4E2B-A272-7A2767F86B16}" type="presOf" srcId="{F5CEBF99-B725-44F4-9377-1CF18F8C0B44}" destId="{518B3F54-8BB7-4C47-A4CA-A12C22682FCD}" srcOrd="1" destOrd="0" presId="urn:microsoft.com/office/officeart/2005/8/layout/cycle8"/>
    <dgm:cxn modelId="{E65E4FBF-F7E9-4C85-A72F-453A51C9F485}" type="presParOf" srcId="{784CC89D-C8CC-4C01-A6D8-6A5ED1C207BE}" destId="{028ECA1D-B063-4440-A193-2D88682F8376}" srcOrd="0" destOrd="0" presId="urn:microsoft.com/office/officeart/2005/8/layout/cycle8"/>
    <dgm:cxn modelId="{97DA9522-2592-446D-90F1-D6E6C8920804}" type="presParOf" srcId="{784CC89D-C8CC-4C01-A6D8-6A5ED1C207BE}" destId="{9EF6D7A7-BFA6-43C8-B00F-2202869809E3}" srcOrd="1" destOrd="0" presId="urn:microsoft.com/office/officeart/2005/8/layout/cycle8"/>
    <dgm:cxn modelId="{733BED6D-CA7A-4959-8272-AF9A6E8781FB}" type="presParOf" srcId="{784CC89D-C8CC-4C01-A6D8-6A5ED1C207BE}" destId="{A6EB81BB-E8ED-48C1-ACFB-F9873FF65ABC}" srcOrd="2" destOrd="0" presId="urn:microsoft.com/office/officeart/2005/8/layout/cycle8"/>
    <dgm:cxn modelId="{B829BE21-23DC-4D58-BD00-3F25FE1ABB99}" type="presParOf" srcId="{784CC89D-C8CC-4C01-A6D8-6A5ED1C207BE}" destId="{7F67B4D3-C1FC-4D45-BF52-7B41BBF8D99C}" srcOrd="3" destOrd="0" presId="urn:microsoft.com/office/officeart/2005/8/layout/cycle8"/>
    <dgm:cxn modelId="{E775B82C-F1A3-4703-84CD-9F98C6F675C9}" type="presParOf" srcId="{784CC89D-C8CC-4C01-A6D8-6A5ED1C207BE}" destId="{B07B8820-D9B0-4E81-83D7-949677FA750C}" srcOrd="4" destOrd="0" presId="urn:microsoft.com/office/officeart/2005/8/layout/cycle8"/>
    <dgm:cxn modelId="{B4CB8D3F-FD10-4FEB-B2E1-540D15C28FD8}" type="presParOf" srcId="{784CC89D-C8CC-4C01-A6D8-6A5ED1C207BE}" destId="{39E70368-D389-418A-8848-422CAEF1AC84}" srcOrd="5" destOrd="0" presId="urn:microsoft.com/office/officeart/2005/8/layout/cycle8"/>
    <dgm:cxn modelId="{DD061D16-7802-4C13-BB3B-79883812E222}" type="presParOf" srcId="{784CC89D-C8CC-4C01-A6D8-6A5ED1C207BE}" destId="{DB3939FC-46D9-4748-8714-AFF49A047659}" srcOrd="6" destOrd="0" presId="urn:microsoft.com/office/officeart/2005/8/layout/cycle8"/>
    <dgm:cxn modelId="{8396BB9F-D02C-48AD-B79D-9DE85CF70779}" type="presParOf" srcId="{784CC89D-C8CC-4C01-A6D8-6A5ED1C207BE}" destId="{518B3F54-8BB7-4C47-A4CA-A12C22682FCD}" srcOrd="7" destOrd="0" presId="urn:microsoft.com/office/officeart/2005/8/layout/cycle8"/>
    <dgm:cxn modelId="{D203105F-3C6C-467B-8EF0-2046DA50896D}" type="presParOf" srcId="{784CC89D-C8CC-4C01-A6D8-6A5ED1C207BE}" destId="{07CB4801-D478-4392-8130-5DACE099762E}" srcOrd="8" destOrd="0" presId="urn:microsoft.com/office/officeart/2005/8/layout/cycle8"/>
    <dgm:cxn modelId="{36B405CC-C844-4687-8ECF-DC3A0F8B2002}" type="presParOf" srcId="{784CC89D-C8CC-4C01-A6D8-6A5ED1C207BE}" destId="{1525915E-4309-49E3-A2DD-7833C0263105}" srcOrd="9" destOrd="0" presId="urn:microsoft.com/office/officeart/2005/8/layout/cycle8"/>
    <dgm:cxn modelId="{953F6E87-8C0C-41F0-AF5C-4453ADA969AA}" type="presParOf" srcId="{784CC89D-C8CC-4C01-A6D8-6A5ED1C207BE}" destId="{645F0D2F-0993-47F8-AFD4-E4A8939EC0B0}" srcOrd="10" destOrd="0" presId="urn:microsoft.com/office/officeart/2005/8/layout/cycle8"/>
    <dgm:cxn modelId="{6BDD479F-8428-4C30-9416-386986663A87}" type="presParOf" srcId="{784CC89D-C8CC-4C01-A6D8-6A5ED1C207BE}" destId="{E42E46ED-ED41-41D6-A0E5-1E64D7B46288}" srcOrd="11" destOrd="0" presId="urn:microsoft.com/office/officeart/2005/8/layout/cycle8"/>
    <dgm:cxn modelId="{AC04D894-81D9-4D41-A046-656651BA7EA2}" type="presParOf" srcId="{784CC89D-C8CC-4C01-A6D8-6A5ED1C207BE}" destId="{FD0182BE-AFC1-4D5B-A574-FE7311E2684E}" srcOrd="12" destOrd="0" presId="urn:microsoft.com/office/officeart/2005/8/layout/cycle8"/>
    <dgm:cxn modelId="{BD8A8AE1-141C-475E-813B-FD4D29AEBC05}" type="presParOf" srcId="{784CC89D-C8CC-4C01-A6D8-6A5ED1C207BE}" destId="{68E9BCF7-AFC2-4D1A-B560-3E54CB1A4CF5}" srcOrd="13" destOrd="0" presId="urn:microsoft.com/office/officeart/2005/8/layout/cycle8"/>
    <dgm:cxn modelId="{276FBCA0-85B9-46B9-A907-146488A165E9}" type="presParOf" srcId="{784CC89D-C8CC-4C01-A6D8-6A5ED1C207BE}" destId="{F3D5D5BF-4A64-4EED-A1D8-4C0DEA3F1C05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E77A0F8-C206-43B8-803C-9DF772C61B04}" type="doc">
      <dgm:prSet loTypeId="urn:microsoft.com/office/officeart/2005/8/layout/cycle5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ZA"/>
        </a:p>
      </dgm:t>
    </dgm:pt>
    <dgm:pt modelId="{ADAFEC96-CCEB-41E0-8A93-0BF8ABBEC86C}">
      <dgm:prSet phldrT="[Text]"/>
      <dgm:spPr/>
      <dgm:t>
        <a:bodyPr/>
        <a:lstStyle/>
        <a:p>
          <a:r>
            <a:rPr lang="en-US" dirty="0"/>
            <a:t>Assessment / Audit</a:t>
          </a:r>
          <a:endParaRPr lang="en-ZA" dirty="0"/>
        </a:p>
      </dgm:t>
    </dgm:pt>
    <dgm:pt modelId="{C9F1004B-AA7D-4268-B465-D286DBDF576C}" type="parTrans" cxnId="{93AA76E9-C4B8-4D8C-8F21-C450D232E51F}">
      <dgm:prSet/>
      <dgm:spPr/>
      <dgm:t>
        <a:bodyPr/>
        <a:lstStyle/>
        <a:p>
          <a:endParaRPr lang="en-ZA"/>
        </a:p>
      </dgm:t>
    </dgm:pt>
    <dgm:pt modelId="{DBF1BEA3-E6A9-4749-9932-5FDAC56B4CE1}" type="sibTrans" cxnId="{93AA76E9-C4B8-4D8C-8F21-C450D232E51F}">
      <dgm:prSet/>
      <dgm:spPr/>
      <dgm:t>
        <a:bodyPr/>
        <a:lstStyle/>
        <a:p>
          <a:endParaRPr lang="en-ZA"/>
        </a:p>
      </dgm:t>
    </dgm:pt>
    <dgm:pt modelId="{1D302EC9-9537-406C-A2D3-BE649E2E9E51}">
      <dgm:prSet phldrT="[Text]"/>
      <dgm:spPr/>
      <dgm:t>
        <a:bodyPr/>
        <a:lstStyle/>
        <a:p>
          <a:r>
            <a:rPr lang="en-US" dirty="0"/>
            <a:t>Analysis, reporting</a:t>
          </a:r>
          <a:endParaRPr lang="en-ZA" dirty="0"/>
        </a:p>
      </dgm:t>
    </dgm:pt>
    <dgm:pt modelId="{FC790012-7824-44B9-9E20-4A16DC4CF0DA}" type="parTrans" cxnId="{218FE036-27D2-44D6-8962-E541CD21F0F3}">
      <dgm:prSet/>
      <dgm:spPr/>
      <dgm:t>
        <a:bodyPr/>
        <a:lstStyle/>
        <a:p>
          <a:endParaRPr lang="en-ZA"/>
        </a:p>
      </dgm:t>
    </dgm:pt>
    <dgm:pt modelId="{0119553C-C027-4ABC-AEA1-3FDE0B3DA21E}" type="sibTrans" cxnId="{218FE036-27D2-44D6-8962-E541CD21F0F3}">
      <dgm:prSet/>
      <dgm:spPr/>
      <dgm:t>
        <a:bodyPr/>
        <a:lstStyle/>
        <a:p>
          <a:endParaRPr lang="en-ZA"/>
        </a:p>
      </dgm:t>
    </dgm:pt>
    <dgm:pt modelId="{243D0E28-2476-4C23-B40D-BDF3CF1A337A}">
      <dgm:prSet phldrT="[Text]"/>
      <dgm:spPr/>
      <dgm:t>
        <a:bodyPr/>
        <a:lstStyle/>
        <a:p>
          <a:r>
            <a:rPr lang="en-US" dirty="0"/>
            <a:t>Intervention design</a:t>
          </a:r>
          <a:endParaRPr lang="en-ZA" dirty="0"/>
        </a:p>
      </dgm:t>
    </dgm:pt>
    <dgm:pt modelId="{06C7D951-F46F-4066-91F2-2FA860348946}" type="parTrans" cxnId="{F8A0EAB1-45C5-44F1-8725-0CB6AC609CB1}">
      <dgm:prSet/>
      <dgm:spPr/>
      <dgm:t>
        <a:bodyPr/>
        <a:lstStyle/>
        <a:p>
          <a:endParaRPr lang="en-ZA"/>
        </a:p>
      </dgm:t>
    </dgm:pt>
    <dgm:pt modelId="{F47CB07C-E1E7-4517-8747-EDEB5A742914}" type="sibTrans" cxnId="{F8A0EAB1-45C5-44F1-8725-0CB6AC609CB1}">
      <dgm:prSet/>
      <dgm:spPr/>
      <dgm:t>
        <a:bodyPr/>
        <a:lstStyle/>
        <a:p>
          <a:endParaRPr lang="en-ZA"/>
        </a:p>
      </dgm:t>
    </dgm:pt>
    <dgm:pt modelId="{862EEA88-641A-484C-8F3A-8663DA614EAC}">
      <dgm:prSet phldrT="[Text]"/>
      <dgm:spPr/>
      <dgm:t>
        <a:bodyPr/>
        <a:lstStyle/>
        <a:p>
          <a:r>
            <a:rPr lang="en-US" dirty="0"/>
            <a:t>Intervention</a:t>
          </a:r>
          <a:endParaRPr lang="en-ZA" dirty="0"/>
        </a:p>
      </dgm:t>
    </dgm:pt>
    <dgm:pt modelId="{220F1591-4B27-41B8-8E25-F2EC0A06C1F0}" type="parTrans" cxnId="{594B5B31-D928-4E40-BE8F-8213A5B1442C}">
      <dgm:prSet/>
      <dgm:spPr/>
      <dgm:t>
        <a:bodyPr/>
        <a:lstStyle/>
        <a:p>
          <a:endParaRPr lang="en-ZA"/>
        </a:p>
      </dgm:t>
    </dgm:pt>
    <dgm:pt modelId="{9B146324-71F2-4B82-AA2A-EC44F999D0F4}" type="sibTrans" cxnId="{594B5B31-D928-4E40-BE8F-8213A5B1442C}">
      <dgm:prSet/>
      <dgm:spPr/>
      <dgm:t>
        <a:bodyPr/>
        <a:lstStyle/>
        <a:p>
          <a:endParaRPr lang="en-ZA"/>
        </a:p>
      </dgm:t>
    </dgm:pt>
    <dgm:pt modelId="{9DCA90A6-56BE-440E-B7DD-FECF4EED97A3}">
      <dgm:prSet phldrT="[Text]"/>
      <dgm:spPr/>
      <dgm:t>
        <a:bodyPr/>
        <a:lstStyle/>
        <a:p>
          <a:r>
            <a:rPr lang="en-US" dirty="0"/>
            <a:t>M&amp;E</a:t>
          </a:r>
          <a:endParaRPr lang="en-ZA" dirty="0"/>
        </a:p>
      </dgm:t>
    </dgm:pt>
    <dgm:pt modelId="{FD0E931E-4B16-49DE-9DC6-5978EAA80888}" type="parTrans" cxnId="{6C319BFA-8A63-4728-ADE5-CCBE450C9CD6}">
      <dgm:prSet/>
      <dgm:spPr/>
      <dgm:t>
        <a:bodyPr/>
        <a:lstStyle/>
        <a:p>
          <a:endParaRPr lang="en-ZA"/>
        </a:p>
      </dgm:t>
    </dgm:pt>
    <dgm:pt modelId="{5E1952FB-D3B6-42ED-AFEF-EB204BFC6EB2}" type="sibTrans" cxnId="{6C319BFA-8A63-4728-ADE5-CCBE450C9CD6}">
      <dgm:prSet/>
      <dgm:spPr/>
      <dgm:t>
        <a:bodyPr/>
        <a:lstStyle/>
        <a:p>
          <a:endParaRPr lang="en-ZA"/>
        </a:p>
      </dgm:t>
    </dgm:pt>
    <dgm:pt modelId="{1F8BBAB8-40FB-4BFA-AE36-AC3AE11D2995}" type="pres">
      <dgm:prSet presAssocID="{8E77A0F8-C206-43B8-803C-9DF772C61B04}" presName="cycle" presStyleCnt="0">
        <dgm:presLayoutVars>
          <dgm:dir/>
          <dgm:resizeHandles val="exact"/>
        </dgm:presLayoutVars>
      </dgm:prSet>
      <dgm:spPr/>
    </dgm:pt>
    <dgm:pt modelId="{FFF7026C-72E4-4003-A997-FEB3D36651B7}" type="pres">
      <dgm:prSet presAssocID="{ADAFEC96-CCEB-41E0-8A93-0BF8ABBEC86C}" presName="node" presStyleLbl="node1" presStyleIdx="0" presStyleCnt="5">
        <dgm:presLayoutVars>
          <dgm:bulletEnabled val="1"/>
        </dgm:presLayoutVars>
      </dgm:prSet>
      <dgm:spPr/>
    </dgm:pt>
    <dgm:pt modelId="{879C962B-D0B5-4E89-872F-2499FDB3615C}" type="pres">
      <dgm:prSet presAssocID="{ADAFEC96-CCEB-41E0-8A93-0BF8ABBEC86C}" presName="spNode" presStyleCnt="0"/>
      <dgm:spPr/>
    </dgm:pt>
    <dgm:pt modelId="{5E941565-7772-4C4E-BA0A-87656748FC92}" type="pres">
      <dgm:prSet presAssocID="{DBF1BEA3-E6A9-4749-9932-5FDAC56B4CE1}" presName="sibTrans" presStyleLbl="sibTrans1D1" presStyleIdx="0" presStyleCnt="5"/>
      <dgm:spPr/>
    </dgm:pt>
    <dgm:pt modelId="{598D0236-F441-4F60-B747-9C9E5CB71F78}" type="pres">
      <dgm:prSet presAssocID="{1D302EC9-9537-406C-A2D3-BE649E2E9E51}" presName="node" presStyleLbl="node1" presStyleIdx="1" presStyleCnt="5">
        <dgm:presLayoutVars>
          <dgm:bulletEnabled val="1"/>
        </dgm:presLayoutVars>
      </dgm:prSet>
      <dgm:spPr/>
    </dgm:pt>
    <dgm:pt modelId="{18EAAB66-20E0-4FFD-8700-25DA56E95E75}" type="pres">
      <dgm:prSet presAssocID="{1D302EC9-9537-406C-A2D3-BE649E2E9E51}" presName="spNode" presStyleCnt="0"/>
      <dgm:spPr/>
    </dgm:pt>
    <dgm:pt modelId="{A978CB81-7B38-4C64-8A8D-F3FDAE329EB0}" type="pres">
      <dgm:prSet presAssocID="{0119553C-C027-4ABC-AEA1-3FDE0B3DA21E}" presName="sibTrans" presStyleLbl="sibTrans1D1" presStyleIdx="1" presStyleCnt="5"/>
      <dgm:spPr/>
    </dgm:pt>
    <dgm:pt modelId="{F06C02E2-87D8-4DCE-8475-AAF8EDF0C814}" type="pres">
      <dgm:prSet presAssocID="{243D0E28-2476-4C23-B40D-BDF3CF1A337A}" presName="node" presStyleLbl="node1" presStyleIdx="2" presStyleCnt="5">
        <dgm:presLayoutVars>
          <dgm:bulletEnabled val="1"/>
        </dgm:presLayoutVars>
      </dgm:prSet>
      <dgm:spPr/>
    </dgm:pt>
    <dgm:pt modelId="{A386A600-4B66-4F20-86E2-9C39F0C90C20}" type="pres">
      <dgm:prSet presAssocID="{243D0E28-2476-4C23-B40D-BDF3CF1A337A}" presName="spNode" presStyleCnt="0"/>
      <dgm:spPr/>
    </dgm:pt>
    <dgm:pt modelId="{BAF6EA24-DDB6-4B39-A842-BA2FCC4695D3}" type="pres">
      <dgm:prSet presAssocID="{F47CB07C-E1E7-4517-8747-EDEB5A742914}" presName="sibTrans" presStyleLbl="sibTrans1D1" presStyleIdx="2" presStyleCnt="5"/>
      <dgm:spPr/>
    </dgm:pt>
    <dgm:pt modelId="{BCD05898-E89C-4E2B-967B-B8AF07B742D0}" type="pres">
      <dgm:prSet presAssocID="{862EEA88-641A-484C-8F3A-8663DA614EAC}" presName="node" presStyleLbl="node1" presStyleIdx="3" presStyleCnt="5">
        <dgm:presLayoutVars>
          <dgm:bulletEnabled val="1"/>
        </dgm:presLayoutVars>
      </dgm:prSet>
      <dgm:spPr/>
    </dgm:pt>
    <dgm:pt modelId="{0C22122C-1CF3-46D9-B5A5-644368716F86}" type="pres">
      <dgm:prSet presAssocID="{862EEA88-641A-484C-8F3A-8663DA614EAC}" presName="spNode" presStyleCnt="0"/>
      <dgm:spPr/>
    </dgm:pt>
    <dgm:pt modelId="{27BF428E-3232-4D0B-A566-19FAD0605A7C}" type="pres">
      <dgm:prSet presAssocID="{9B146324-71F2-4B82-AA2A-EC44F999D0F4}" presName="sibTrans" presStyleLbl="sibTrans1D1" presStyleIdx="3" presStyleCnt="5"/>
      <dgm:spPr/>
    </dgm:pt>
    <dgm:pt modelId="{9CFBC74B-EA9D-48E8-85EE-037CC776C903}" type="pres">
      <dgm:prSet presAssocID="{9DCA90A6-56BE-440E-B7DD-FECF4EED97A3}" presName="node" presStyleLbl="node1" presStyleIdx="4" presStyleCnt="5">
        <dgm:presLayoutVars>
          <dgm:bulletEnabled val="1"/>
        </dgm:presLayoutVars>
      </dgm:prSet>
      <dgm:spPr/>
    </dgm:pt>
    <dgm:pt modelId="{E0719B47-727C-48A1-8387-507F189529EC}" type="pres">
      <dgm:prSet presAssocID="{9DCA90A6-56BE-440E-B7DD-FECF4EED97A3}" presName="spNode" presStyleCnt="0"/>
      <dgm:spPr/>
    </dgm:pt>
    <dgm:pt modelId="{29E8EBD7-1BD5-44ED-8293-61F32F72282C}" type="pres">
      <dgm:prSet presAssocID="{5E1952FB-D3B6-42ED-AFEF-EB204BFC6EB2}" presName="sibTrans" presStyleLbl="sibTrans1D1" presStyleIdx="4" presStyleCnt="5"/>
      <dgm:spPr/>
    </dgm:pt>
  </dgm:ptLst>
  <dgm:cxnLst>
    <dgm:cxn modelId="{E4C7AF05-E72A-4B12-8E6C-77EB26F44699}" type="presOf" srcId="{9B146324-71F2-4B82-AA2A-EC44F999D0F4}" destId="{27BF428E-3232-4D0B-A566-19FAD0605A7C}" srcOrd="0" destOrd="0" presId="urn:microsoft.com/office/officeart/2005/8/layout/cycle5"/>
    <dgm:cxn modelId="{3D425C2A-B84F-4F0A-AAE4-A24BA99B31EF}" type="presOf" srcId="{0119553C-C027-4ABC-AEA1-3FDE0B3DA21E}" destId="{A978CB81-7B38-4C64-8A8D-F3FDAE329EB0}" srcOrd="0" destOrd="0" presId="urn:microsoft.com/office/officeart/2005/8/layout/cycle5"/>
    <dgm:cxn modelId="{594B5B31-D928-4E40-BE8F-8213A5B1442C}" srcId="{8E77A0F8-C206-43B8-803C-9DF772C61B04}" destId="{862EEA88-641A-484C-8F3A-8663DA614EAC}" srcOrd="3" destOrd="0" parTransId="{220F1591-4B27-41B8-8E25-F2EC0A06C1F0}" sibTransId="{9B146324-71F2-4B82-AA2A-EC44F999D0F4}"/>
    <dgm:cxn modelId="{218FE036-27D2-44D6-8962-E541CD21F0F3}" srcId="{8E77A0F8-C206-43B8-803C-9DF772C61B04}" destId="{1D302EC9-9537-406C-A2D3-BE649E2E9E51}" srcOrd="1" destOrd="0" parTransId="{FC790012-7824-44B9-9E20-4A16DC4CF0DA}" sibTransId="{0119553C-C027-4ABC-AEA1-3FDE0B3DA21E}"/>
    <dgm:cxn modelId="{9487A838-8AC6-4148-8D2C-8C77D87A3F3A}" type="presOf" srcId="{1D302EC9-9537-406C-A2D3-BE649E2E9E51}" destId="{598D0236-F441-4F60-B747-9C9E5CB71F78}" srcOrd="0" destOrd="0" presId="urn:microsoft.com/office/officeart/2005/8/layout/cycle5"/>
    <dgm:cxn modelId="{C1B7AB41-F34C-4CA9-B96D-C282A45085B9}" type="presOf" srcId="{8E77A0F8-C206-43B8-803C-9DF772C61B04}" destId="{1F8BBAB8-40FB-4BFA-AE36-AC3AE11D2995}" srcOrd="0" destOrd="0" presId="urn:microsoft.com/office/officeart/2005/8/layout/cycle5"/>
    <dgm:cxn modelId="{EB2E4B6A-8359-4729-A1E4-A124135434E3}" type="presOf" srcId="{DBF1BEA3-E6A9-4749-9932-5FDAC56B4CE1}" destId="{5E941565-7772-4C4E-BA0A-87656748FC92}" srcOrd="0" destOrd="0" presId="urn:microsoft.com/office/officeart/2005/8/layout/cycle5"/>
    <dgm:cxn modelId="{FBF89693-13E0-4AE8-AD19-2FDE7B79C473}" type="presOf" srcId="{9DCA90A6-56BE-440E-B7DD-FECF4EED97A3}" destId="{9CFBC74B-EA9D-48E8-85EE-037CC776C903}" srcOrd="0" destOrd="0" presId="urn:microsoft.com/office/officeart/2005/8/layout/cycle5"/>
    <dgm:cxn modelId="{F8A0EAB1-45C5-44F1-8725-0CB6AC609CB1}" srcId="{8E77A0F8-C206-43B8-803C-9DF772C61B04}" destId="{243D0E28-2476-4C23-B40D-BDF3CF1A337A}" srcOrd="2" destOrd="0" parTransId="{06C7D951-F46F-4066-91F2-2FA860348946}" sibTransId="{F47CB07C-E1E7-4517-8747-EDEB5A742914}"/>
    <dgm:cxn modelId="{15C22DD0-5086-4CDC-B12C-713476B80F6A}" type="presOf" srcId="{243D0E28-2476-4C23-B40D-BDF3CF1A337A}" destId="{F06C02E2-87D8-4DCE-8475-AAF8EDF0C814}" srcOrd="0" destOrd="0" presId="urn:microsoft.com/office/officeart/2005/8/layout/cycle5"/>
    <dgm:cxn modelId="{93AA76E9-C4B8-4D8C-8F21-C450D232E51F}" srcId="{8E77A0F8-C206-43B8-803C-9DF772C61B04}" destId="{ADAFEC96-CCEB-41E0-8A93-0BF8ABBEC86C}" srcOrd="0" destOrd="0" parTransId="{C9F1004B-AA7D-4268-B465-D286DBDF576C}" sibTransId="{DBF1BEA3-E6A9-4749-9932-5FDAC56B4CE1}"/>
    <dgm:cxn modelId="{44C581EA-2297-4464-ADA9-F98019F7E92A}" type="presOf" srcId="{F47CB07C-E1E7-4517-8747-EDEB5A742914}" destId="{BAF6EA24-DDB6-4B39-A842-BA2FCC4695D3}" srcOrd="0" destOrd="0" presId="urn:microsoft.com/office/officeart/2005/8/layout/cycle5"/>
    <dgm:cxn modelId="{B7510DEC-8E5A-49BD-B3E9-B79666D05C51}" type="presOf" srcId="{862EEA88-641A-484C-8F3A-8663DA614EAC}" destId="{BCD05898-E89C-4E2B-967B-B8AF07B742D0}" srcOrd="0" destOrd="0" presId="urn:microsoft.com/office/officeart/2005/8/layout/cycle5"/>
    <dgm:cxn modelId="{D0A728F7-7733-42AA-9827-C1FE29B12E85}" type="presOf" srcId="{5E1952FB-D3B6-42ED-AFEF-EB204BFC6EB2}" destId="{29E8EBD7-1BD5-44ED-8293-61F32F72282C}" srcOrd="0" destOrd="0" presId="urn:microsoft.com/office/officeart/2005/8/layout/cycle5"/>
    <dgm:cxn modelId="{6C319BFA-8A63-4728-ADE5-CCBE450C9CD6}" srcId="{8E77A0F8-C206-43B8-803C-9DF772C61B04}" destId="{9DCA90A6-56BE-440E-B7DD-FECF4EED97A3}" srcOrd="4" destOrd="0" parTransId="{FD0E931E-4B16-49DE-9DC6-5978EAA80888}" sibTransId="{5E1952FB-D3B6-42ED-AFEF-EB204BFC6EB2}"/>
    <dgm:cxn modelId="{20F686FD-658A-45C9-9CE0-1B3F6BE24858}" type="presOf" srcId="{ADAFEC96-CCEB-41E0-8A93-0BF8ABBEC86C}" destId="{FFF7026C-72E4-4003-A997-FEB3D36651B7}" srcOrd="0" destOrd="0" presId="urn:microsoft.com/office/officeart/2005/8/layout/cycle5"/>
    <dgm:cxn modelId="{166E2C12-F53B-4594-9DEF-1157C3CCB924}" type="presParOf" srcId="{1F8BBAB8-40FB-4BFA-AE36-AC3AE11D2995}" destId="{FFF7026C-72E4-4003-A997-FEB3D36651B7}" srcOrd="0" destOrd="0" presId="urn:microsoft.com/office/officeart/2005/8/layout/cycle5"/>
    <dgm:cxn modelId="{637F6A3B-5E71-4B00-A0D2-43B78E09D0DA}" type="presParOf" srcId="{1F8BBAB8-40FB-4BFA-AE36-AC3AE11D2995}" destId="{879C962B-D0B5-4E89-872F-2499FDB3615C}" srcOrd="1" destOrd="0" presId="urn:microsoft.com/office/officeart/2005/8/layout/cycle5"/>
    <dgm:cxn modelId="{F91C80E8-C936-421E-9E49-8D5B56D435E2}" type="presParOf" srcId="{1F8BBAB8-40FB-4BFA-AE36-AC3AE11D2995}" destId="{5E941565-7772-4C4E-BA0A-87656748FC92}" srcOrd="2" destOrd="0" presId="urn:microsoft.com/office/officeart/2005/8/layout/cycle5"/>
    <dgm:cxn modelId="{0D6CADB6-AD45-4106-99FF-BD3812EA4DBB}" type="presParOf" srcId="{1F8BBAB8-40FB-4BFA-AE36-AC3AE11D2995}" destId="{598D0236-F441-4F60-B747-9C9E5CB71F78}" srcOrd="3" destOrd="0" presId="urn:microsoft.com/office/officeart/2005/8/layout/cycle5"/>
    <dgm:cxn modelId="{1CDC03EF-9262-4629-B207-1FB9168D3AD3}" type="presParOf" srcId="{1F8BBAB8-40FB-4BFA-AE36-AC3AE11D2995}" destId="{18EAAB66-20E0-4FFD-8700-25DA56E95E75}" srcOrd="4" destOrd="0" presId="urn:microsoft.com/office/officeart/2005/8/layout/cycle5"/>
    <dgm:cxn modelId="{8B47C4E5-45A5-4591-82C7-5B9D4CAF2B1B}" type="presParOf" srcId="{1F8BBAB8-40FB-4BFA-AE36-AC3AE11D2995}" destId="{A978CB81-7B38-4C64-8A8D-F3FDAE329EB0}" srcOrd="5" destOrd="0" presId="urn:microsoft.com/office/officeart/2005/8/layout/cycle5"/>
    <dgm:cxn modelId="{A764602E-8895-4DFB-8111-A571D2B95DD9}" type="presParOf" srcId="{1F8BBAB8-40FB-4BFA-AE36-AC3AE11D2995}" destId="{F06C02E2-87D8-4DCE-8475-AAF8EDF0C814}" srcOrd="6" destOrd="0" presId="urn:microsoft.com/office/officeart/2005/8/layout/cycle5"/>
    <dgm:cxn modelId="{70D44313-3D7F-4276-8008-97903110C41F}" type="presParOf" srcId="{1F8BBAB8-40FB-4BFA-AE36-AC3AE11D2995}" destId="{A386A600-4B66-4F20-86E2-9C39F0C90C20}" srcOrd="7" destOrd="0" presId="urn:microsoft.com/office/officeart/2005/8/layout/cycle5"/>
    <dgm:cxn modelId="{C9555D9E-B03F-4AD3-B958-49C381B7C4F0}" type="presParOf" srcId="{1F8BBAB8-40FB-4BFA-AE36-AC3AE11D2995}" destId="{BAF6EA24-DDB6-4B39-A842-BA2FCC4695D3}" srcOrd="8" destOrd="0" presId="urn:microsoft.com/office/officeart/2005/8/layout/cycle5"/>
    <dgm:cxn modelId="{22953873-0E34-4FE1-B1A8-E360D49D384B}" type="presParOf" srcId="{1F8BBAB8-40FB-4BFA-AE36-AC3AE11D2995}" destId="{BCD05898-E89C-4E2B-967B-B8AF07B742D0}" srcOrd="9" destOrd="0" presId="urn:microsoft.com/office/officeart/2005/8/layout/cycle5"/>
    <dgm:cxn modelId="{551990E0-35E9-49BD-9C3D-374ED84B047A}" type="presParOf" srcId="{1F8BBAB8-40FB-4BFA-AE36-AC3AE11D2995}" destId="{0C22122C-1CF3-46D9-B5A5-644368716F86}" srcOrd="10" destOrd="0" presId="urn:microsoft.com/office/officeart/2005/8/layout/cycle5"/>
    <dgm:cxn modelId="{4658536C-665D-4D46-BA37-7AF5F75DB20D}" type="presParOf" srcId="{1F8BBAB8-40FB-4BFA-AE36-AC3AE11D2995}" destId="{27BF428E-3232-4D0B-A566-19FAD0605A7C}" srcOrd="11" destOrd="0" presId="urn:microsoft.com/office/officeart/2005/8/layout/cycle5"/>
    <dgm:cxn modelId="{B0D29D85-3D24-41C3-A843-0E191F2F510B}" type="presParOf" srcId="{1F8BBAB8-40FB-4BFA-AE36-AC3AE11D2995}" destId="{9CFBC74B-EA9D-48E8-85EE-037CC776C903}" srcOrd="12" destOrd="0" presId="urn:microsoft.com/office/officeart/2005/8/layout/cycle5"/>
    <dgm:cxn modelId="{FC71975A-C97A-4AB8-9C9A-5F4C1D2FE3BD}" type="presParOf" srcId="{1F8BBAB8-40FB-4BFA-AE36-AC3AE11D2995}" destId="{E0719B47-727C-48A1-8387-507F189529EC}" srcOrd="13" destOrd="0" presId="urn:microsoft.com/office/officeart/2005/8/layout/cycle5"/>
    <dgm:cxn modelId="{C1A87F37-489D-4E43-AF78-228B3AA532C7}" type="presParOf" srcId="{1F8BBAB8-40FB-4BFA-AE36-AC3AE11D2995}" destId="{29E8EBD7-1BD5-44ED-8293-61F32F72282C}" srcOrd="14" destOrd="0" presId="urn:microsoft.com/office/officeart/2005/8/layout/cycle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8ECA1D-B063-4440-A193-2D88682F8376}">
      <dsp:nvSpPr>
        <dsp:cNvPr id="0" name=""/>
        <dsp:cNvSpPr/>
      </dsp:nvSpPr>
      <dsp:spPr>
        <a:xfrm>
          <a:off x="1740314" y="207987"/>
          <a:ext cx="2687837" cy="2687837"/>
        </a:xfrm>
        <a:prstGeom prst="pie">
          <a:avLst>
            <a:gd name="adj1" fmla="val 16200000"/>
            <a:gd name="adj2" fmla="val 1800000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500" kern="1200" dirty="0"/>
            <a:t>Monitoring and reporting</a:t>
          </a:r>
        </a:p>
      </dsp:txBody>
      <dsp:txXfrm>
        <a:off x="3156868" y="777552"/>
        <a:ext cx="959941" cy="799951"/>
      </dsp:txXfrm>
    </dsp:sp>
    <dsp:sp modelId="{B07B8820-D9B0-4E81-83D7-949677FA750C}">
      <dsp:nvSpPr>
        <dsp:cNvPr id="0" name=""/>
        <dsp:cNvSpPr/>
      </dsp:nvSpPr>
      <dsp:spPr>
        <a:xfrm>
          <a:off x="1684957" y="303981"/>
          <a:ext cx="2687837" cy="2687837"/>
        </a:xfrm>
        <a:prstGeom prst="pie">
          <a:avLst>
            <a:gd name="adj1" fmla="val 1800000"/>
            <a:gd name="adj2" fmla="val 9000000"/>
          </a:avLst>
        </a:prstGeom>
        <a:solidFill>
          <a:schemeClr val="accent3">
            <a:shade val="80000"/>
            <a:hueOff val="109454"/>
            <a:satOff val="-716"/>
            <a:lumOff val="1227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500" kern="1200" dirty="0"/>
            <a:t>Learning Management System</a:t>
          </a:r>
        </a:p>
      </dsp:txBody>
      <dsp:txXfrm>
        <a:off x="2324918" y="2047875"/>
        <a:ext cx="1439912" cy="703957"/>
      </dsp:txXfrm>
    </dsp:sp>
    <dsp:sp modelId="{07CB4801-D478-4392-8130-5DACE099762E}">
      <dsp:nvSpPr>
        <dsp:cNvPr id="0" name=""/>
        <dsp:cNvSpPr/>
      </dsp:nvSpPr>
      <dsp:spPr>
        <a:xfrm>
          <a:off x="1629600" y="207987"/>
          <a:ext cx="2687837" cy="2687837"/>
        </a:xfrm>
        <a:prstGeom prst="pie">
          <a:avLst>
            <a:gd name="adj1" fmla="val 9000000"/>
            <a:gd name="adj2" fmla="val 16200000"/>
          </a:avLst>
        </a:prstGeom>
        <a:solidFill>
          <a:schemeClr val="accent3">
            <a:shade val="80000"/>
            <a:hueOff val="218907"/>
            <a:satOff val="-1431"/>
            <a:lumOff val="2455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TA Practitioner apps</a:t>
          </a:r>
          <a:endParaRPr lang="en-ZA" sz="1500" kern="1200" dirty="0"/>
        </a:p>
      </dsp:txBody>
      <dsp:txXfrm>
        <a:off x="1940941" y="777552"/>
        <a:ext cx="959941" cy="799951"/>
      </dsp:txXfrm>
    </dsp:sp>
    <dsp:sp modelId="{FD0182BE-AFC1-4D5B-A574-FE7311E2684E}">
      <dsp:nvSpPr>
        <dsp:cNvPr id="0" name=""/>
        <dsp:cNvSpPr/>
      </dsp:nvSpPr>
      <dsp:spPr>
        <a:xfrm>
          <a:off x="1574146" y="41597"/>
          <a:ext cx="3020616" cy="30206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8E9BCF7-AFC2-4D1A-B560-3E54CB1A4CF5}">
      <dsp:nvSpPr>
        <dsp:cNvPr id="0" name=""/>
        <dsp:cNvSpPr/>
      </dsp:nvSpPr>
      <dsp:spPr>
        <a:xfrm>
          <a:off x="1518567" y="137421"/>
          <a:ext cx="3020616" cy="30206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3">
            <a:shade val="90000"/>
            <a:hueOff val="109447"/>
            <a:satOff val="-1766"/>
            <a:lumOff val="10911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3D5D5BF-4A64-4EED-A1D8-4C0DEA3F1C05}">
      <dsp:nvSpPr>
        <dsp:cNvPr id="0" name=""/>
        <dsp:cNvSpPr/>
      </dsp:nvSpPr>
      <dsp:spPr>
        <a:xfrm>
          <a:off x="1462989" y="41597"/>
          <a:ext cx="3020616" cy="30206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3">
            <a:shade val="90000"/>
            <a:hueOff val="218894"/>
            <a:satOff val="-3532"/>
            <a:lumOff val="21821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F7026C-72E4-4003-A997-FEB3D36651B7}">
      <dsp:nvSpPr>
        <dsp:cNvPr id="0" name=""/>
        <dsp:cNvSpPr/>
      </dsp:nvSpPr>
      <dsp:spPr>
        <a:xfrm>
          <a:off x="4227228" y="1241"/>
          <a:ext cx="1490820" cy="96903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ssessment / Audit</a:t>
          </a:r>
          <a:endParaRPr lang="en-ZA" sz="1900" kern="1200" dirty="0"/>
        </a:p>
      </dsp:txBody>
      <dsp:txXfrm>
        <a:off x="4274532" y="48545"/>
        <a:ext cx="1396212" cy="874425"/>
      </dsp:txXfrm>
    </dsp:sp>
    <dsp:sp modelId="{5E941565-7772-4C4E-BA0A-87656748FC92}">
      <dsp:nvSpPr>
        <dsp:cNvPr id="0" name=""/>
        <dsp:cNvSpPr/>
      </dsp:nvSpPr>
      <dsp:spPr>
        <a:xfrm>
          <a:off x="3036801" y="485758"/>
          <a:ext cx="3871674" cy="3871674"/>
        </a:xfrm>
        <a:custGeom>
          <a:avLst/>
          <a:gdLst/>
          <a:ahLst/>
          <a:cxnLst/>
          <a:rect l="0" t="0" r="0" b="0"/>
          <a:pathLst>
            <a:path>
              <a:moveTo>
                <a:pt x="2880921" y="246375"/>
              </a:moveTo>
              <a:arcTo wR="1935837" hR="1935837" stAng="17953357" swAng="1211663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8D0236-F441-4F60-B747-9C9E5CB71F78}">
      <dsp:nvSpPr>
        <dsp:cNvPr id="0" name=""/>
        <dsp:cNvSpPr/>
      </dsp:nvSpPr>
      <dsp:spPr>
        <a:xfrm>
          <a:off x="6068318" y="1338872"/>
          <a:ext cx="1490820" cy="969033"/>
        </a:xfrm>
        <a:prstGeom prst="roundRect">
          <a:avLst/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Analysis, reporting</a:t>
          </a:r>
          <a:endParaRPr lang="en-ZA" sz="1900" kern="1200" dirty="0"/>
        </a:p>
      </dsp:txBody>
      <dsp:txXfrm>
        <a:off x="6115622" y="1386176"/>
        <a:ext cx="1396212" cy="874425"/>
      </dsp:txXfrm>
    </dsp:sp>
    <dsp:sp modelId="{A978CB81-7B38-4C64-8A8D-F3FDAE329EB0}">
      <dsp:nvSpPr>
        <dsp:cNvPr id="0" name=""/>
        <dsp:cNvSpPr/>
      </dsp:nvSpPr>
      <dsp:spPr>
        <a:xfrm>
          <a:off x="3036801" y="485758"/>
          <a:ext cx="3871674" cy="3871674"/>
        </a:xfrm>
        <a:custGeom>
          <a:avLst/>
          <a:gdLst/>
          <a:ahLst/>
          <a:cxnLst/>
          <a:rect l="0" t="0" r="0" b="0"/>
          <a:pathLst>
            <a:path>
              <a:moveTo>
                <a:pt x="3867032" y="2069819"/>
              </a:moveTo>
              <a:arcTo wR="1935837" hR="1935837" stAng="21838122" swAng="1359822"/>
            </a:path>
          </a:pathLst>
        </a:custGeom>
        <a:noFill/>
        <a:ln w="952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6C02E2-87D8-4DCE-8475-AAF8EDF0C814}">
      <dsp:nvSpPr>
        <dsp:cNvPr id="0" name=""/>
        <dsp:cNvSpPr/>
      </dsp:nvSpPr>
      <dsp:spPr>
        <a:xfrm>
          <a:off x="5365084" y="3503204"/>
          <a:ext cx="1490820" cy="969033"/>
        </a:xfrm>
        <a:prstGeom prst="round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tervention design</a:t>
          </a:r>
          <a:endParaRPr lang="en-ZA" sz="1900" kern="1200" dirty="0"/>
        </a:p>
      </dsp:txBody>
      <dsp:txXfrm>
        <a:off x="5412388" y="3550508"/>
        <a:ext cx="1396212" cy="874425"/>
      </dsp:txXfrm>
    </dsp:sp>
    <dsp:sp modelId="{BAF6EA24-DDB6-4B39-A842-BA2FCC4695D3}">
      <dsp:nvSpPr>
        <dsp:cNvPr id="0" name=""/>
        <dsp:cNvSpPr/>
      </dsp:nvSpPr>
      <dsp:spPr>
        <a:xfrm>
          <a:off x="3036801" y="485758"/>
          <a:ext cx="3871674" cy="3871674"/>
        </a:xfrm>
        <a:custGeom>
          <a:avLst/>
          <a:gdLst/>
          <a:ahLst/>
          <a:cxnLst/>
          <a:rect l="0" t="0" r="0" b="0"/>
          <a:pathLst>
            <a:path>
              <a:moveTo>
                <a:pt x="2173443" y="3857037"/>
              </a:moveTo>
              <a:arcTo wR="1935837" hR="1935837" stAng="4976981" swAng="846037"/>
            </a:path>
          </a:pathLst>
        </a:custGeom>
        <a:noFill/>
        <a:ln w="952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D05898-E89C-4E2B-967B-B8AF07B742D0}">
      <dsp:nvSpPr>
        <dsp:cNvPr id="0" name=""/>
        <dsp:cNvSpPr/>
      </dsp:nvSpPr>
      <dsp:spPr>
        <a:xfrm>
          <a:off x="3089371" y="3503204"/>
          <a:ext cx="1490820" cy="969033"/>
        </a:xfrm>
        <a:prstGeom prst="roundRect">
          <a:avLst/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tervention</a:t>
          </a:r>
          <a:endParaRPr lang="en-ZA" sz="1900" kern="1200" dirty="0"/>
        </a:p>
      </dsp:txBody>
      <dsp:txXfrm>
        <a:off x="3136675" y="3550508"/>
        <a:ext cx="1396212" cy="874425"/>
      </dsp:txXfrm>
    </dsp:sp>
    <dsp:sp modelId="{27BF428E-3232-4D0B-A566-19FAD0605A7C}">
      <dsp:nvSpPr>
        <dsp:cNvPr id="0" name=""/>
        <dsp:cNvSpPr/>
      </dsp:nvSpPr>
      <dsp:spPr>
        <a:xfrm>
          <a:off x="3036801" y="485758"/>
          <a:ext cx="3871674" cy="3871674"/>
        </a:xfrm>
        <a:custGeom>
          <a:avLst/>
          <a:gdLst/>
          <a:ahLst/>
          <a:cxnLst/>
          <a:rect l="0" t="0" r="0" b="0"/>
          <a:pathLst>
            <a:path>
              <a:moveTo>
                <a:pt x="205390" y="2803604"/>
              </a:moveTo>
              <a:arcTo wR="1935837" hR="1935837" stAng="9202056" swAng="1359822"/>
            </a:path>
          </a:pathLst>
        </a:custGeom>
        <a:noFill/>
        <a:ln w="952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FBC74B-EA9D-48E8-85EE-037CC776C903}">
      <dsp:nvSpPr>
        <dsp:cNvPr id="0" name=""/>
        <dsp:cNvSpPr/>
      </dsp:nvSpPr>
      <dsp:spPr>
        <a:xfrm>
          <a:off x="2386137" y="1338872"/>
          <a:ext cx="1490820" cy="969033"/>
        </a:xfrm>
        <a:prstGeom prst="round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M&amp;E</a:t>
          </a:r>
          <a:endParaRPr lang="en-ZA" sz="1900" kern="1200" dirty="0"/>
        </a:p>
      </dsp:txBody>
      <dsp:txXfrm>
        <a:off x="2433441" y="1386176"/>
        <a:ext cx="1396212" cy="874425"/>
      </dsp:txXfrm>
    </dsp:sp>
    <dsp:sp modelId="{29E8EBD7-1BD5-44ED-8293-61F32F72282C}">
      <dsp:nvSpPr>
        <dsp:cNvPr id="0" name=""/>
        <dsp:cNvSpPr/>
      </dsp:nvSpPr>
      <dsp:spPr>
        <a:xfrm>
          <a:off x="3036801" y="485758"/>
          <a:ext cx="3871674" cy="3871674"/>
        </a:xfrm>
        <a:custGeom>
          <a:avLst/>
          <a:gdLst/>
          <a:ahLst/>
          <a:cxnLst/>
          <a:rect l="0" t="0" r="0" b="0"/>
          <a:pathLst>
            <a:path>
              <a:moveTo>
                <a:pt x="465637" y="676480"/>
              </a:moveTo>
              <a:arcTo wR="1935837" hR="1935837" stAng="13234980" swAng="1211663"/>
            </a:path>
          </a:pathLst>
        </a:custGeom>
        <a:noFill/>
        <a:ln w="952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EC7752-2F27-4884-A047-11D64177A947}" type="datetimeFigureOut">
              <a:rPr lang="en-ZA" smtClean="0"/>
              <a:t>2024/08/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D85B6-54B6-429C-85A3-BB97454DEAAF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186679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5D85B6-54B6-429C-85A3-BB97454DEAAF}" type="slidenum">
              <a:rPr lang="en-ZA" smtClean="0"/>
              <a:t>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7197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3.jpeg"/><Relationship Id="rId5" Type="http://schemas.openxmlformats.org/officeDocument/2006/relationships/image" Target="../media/image1.jpeg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6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5.jpeg"/><Relationship Id="rId5" Type="http://schemas.openxmlformats.org/officeDocument/2006/relationships/image" Target="../media/image17.jpe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8960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447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17" r="49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4" r="317" b="1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91407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84E54A-D965-FC50-802E-562CE671CB7A}"/>
              </a:ext>
            </a:extLst>
          </p:cNvPr>
          <p:cNvSpPr/>
          <p:nvPr userDrawn="1"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23 – 26 July · Brisbane and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891914" cy="1223964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ias2023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236A86-39CA-2553-C598-9D791DE353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44538" y="248400"/>
            <a:ext cx="1608084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083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36DAF4-47F9-4476-B8D0-434FFC694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114A2-34C8-465E-AA4B-60DB6D08CC5B}" type="datetimeFigureOut">
              <a:rPr lang="en-ZA"/>
              <a:pPr>
                <a:defRPr/>
              </a:pPr>
              <a:t>2024/08/21</a:t>
            </a:fld>
            <a:endParaRPr lang="en-ZA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D9FE6FF-A40F-4C4D-A723-2B1DCF333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64B2B2-6C29-472A-8C18-0A13CCF05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B8D5F-B4BC-4B48-A00E-334CA50A51A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52944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137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7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8/2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19555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110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4005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96936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6936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1684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871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37455623"/>
      </p:ext>
    </p:extLst>
  </p:cSld>
  <p:clrMapOvr>
    <a:masterClrMapping/>
  </p:clrMapOvr>
  <p:transition spd="slow">
    <p:split orient="vert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54975471"/>
      </p:ext>
    </p:extLst>
  </p:cSld>
  <p:clrMapOvr>
    <a:masterClrMapping/>
  </p:clrMapOvr>
  <p:transition spd="slow">
    <p:split orient="vert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08099065"/>
      </p:ext>
    </p:extLst>
  </p:cSld>
  <p:clrMapOvr>
    <a:masterClrMapping/>
  </p:clrMapOvr>
  <p:transition spd="slow">
    <p:split orient="vert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1574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162596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5375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78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68062130"/>
      </p:ext>
    </p:extLst>
  </p:cSld>
  <p:clrMapOvr>
    <a:masterClrMapping/>
  </p:clrMapOvr>
  <p:transition spd="slow">
    <p:split orient="vert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8141231"/>
      </p:ext>
    </p:extLst>
  </p:cSld>
  <p:clrMapOvr>
    <a:masterClrMapping/>
  </p:clrMapOvr>
  <p:transition spd="slow"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1599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8366185"/>
      </p:ext>
    </p:extLst>
  </p:cSld>
  <p:clrMapOvr>
    <a:masterClrMapping/>
  </p:clrMapOvr>
  <p:transition spd="slow">
    <p:split orient="vert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98916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 dirty="0"/>
              <a:t>Slid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4039181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5553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371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73959229"/>
      </p:ext>
    </p:extLst>
  </p:cSld>
  <p:clrMapOvr>
    <a:masterClrMapping/>
  </p:clrMapOvr>
  <p:transition spd="slow">
    <p:split orient="vert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11513064"/>
      </p:ext>
    </p:extLst>
  </p:cSld>
  <p:clrMapOvr>
    <a:masterClrMapping/>
  </p:clrMapOvr>
  <p:transition spd="slow">
    <p:split orient="vert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54467140"/>
      </p:ext>
    </p:extLst>
  </p:cSld>
  <p:clrMapOvr>
    <a:masterClrMapping/>
  </p:clrMapOvr>
  <p:transition spd="slow">
    <p:split orient="vert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10756219" y="49"/>
            <a:ext cx="1435781" cy="941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2661" y="264178"/>
            <a:ext cx="11526983" cy="448453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2661" y="1218640"/>
            <a:ext cx="11526983" cy="4846544"/>
          </a:xfrm>
        </p:spPr>
        <p:txBody>
          <a:bodyPr/>
          <a:lstStyle>
            <a:lvl1pPr marL="170177" indent="-17017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1pPr>
            <a:lvl2pPr marL="420066" indent="-164246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2pPr>
            <a:lvl3pPr marL="634268" indent="-128526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3pPr>
            <a:lvl4pPr marL="864022" indent="-14400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4pPr>
            <a:lvl5pPr marL="1381642" indent="-144007">
              <a:buClrTx/>
              <a:buSzPct val="80000"/>
              <a:buFont typeface="Wingdings" charset="2"/>
              <a:buChar char="§"/>
              <a:defRPr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B4881F-06A0-4E81-807C-A091446BE571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43765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9013" y="5906697"/>
            <a:ext cx="1978587" cy="949716"/>
          </a:xfrm>
          <a:prstGeom prst="rect">
            <a:avLst/>
          </a:prstGeom>
        </p:spPr>
      </p:pic>
      <p:pic>
        <p:nvPicPr>
          <p:cNvPr id="2" name="Picture 1" descr="Logo - NDP - Full colour.jpg">
            <a:extLst>
              <a:ext uri="{FF2B5EF4-FFF2-40B4-BE49-F238E27FC236}">
                <a16:creationId xmlns:a16="http://schemas.microsoft.com/office/drawing/2014/main" id="{B0E82CC1-7155-EA1F-6009-99DB88ABCE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2759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8533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  <p:pic>
        <p:nvPicPr>
          <p:cNvPr id="3" name="Picture 2" descr="Logo - NDP - Full colour.jpg">
            <a:extLst>
              <a:ext uri="{FF2B5EF4-FFF2-40B4-BE49-F238E27FC236}">
                <a16:creationId xmlns:a16="http://schemas.microsoft.com/office/drawing/2014/main" id="{F5CE6000-966C-B06C-F3B2-3B1C133278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074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  <p:pic>
        <p:nvPicPr>
          <p:cNvPr id="3" name="Picture 2" descr="Logo - NDP - Full colour.jpg">
            <a:extLst>
              <a:ext uri="{FF2B5EF4-FFF2-40B4-BE49-F238E27FC236}">
                <a16:creationId xmlns:a16="http://schemas.microsoft.com/office/drawing/2014/main" id="{2F782102-A673-C042-7C11-8DB3D8F7FA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602321" y="5799022"/>
            <a:ext cx="1411971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6560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/>
              <a:t>Slide 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1048720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8325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 hidden="1"/>
          <p:cNvPicPr/>
          <p:nvPr/>
        </p:nvPicPr>
        <p:blipFill>
          <a:blip r:embed="rId3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2" name="Rectangle 1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558657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717238" y="5857892"/>
            <a:ext cx="1507221" cy="1071570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59" y="5944572"/>
            <a:ext cx="1824203" cy="87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6851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Dark Blue_Countr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29566" y="6488210"/>
            <a:ext cx="58830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2">
                    <a:lumMod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F23628F-A5FA-4BCB-A370-58EE698AF935}" type="slidenum">
              <a:rPr lang="en-US" sz="675" smtClean="0">
                <a:solidFill>
                  <a:srgbClr val="494949"/>
                </a:solidFill>
              </a:rPr>
              <a:pPr/>
              <a:t>‹#›</a:t>
            </a:fld>
            <a:endParaRPr lang="en-US" sz="675">
              <a:solidFill>
                <a:srgbClr val="494949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DBA7FEE-839D-D75C-58F2-DD90B2D1B8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6731" y="1183590"/>
            <a:ext cx="11702071" cy="46724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defRPr sz="1200">
                <a:solidFill>
                  <a:schemeClr val="bg2">
                    <a:lumMod val="25000"/>
                  </a:schemeClr>
                </a:solidFill>
              </a:defRPr>
            </a:lvl1pPr>
            <a:lvl2pPr marL="5143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–"/>
              <a:defRPr sz="1200">
                <a:solidFill>
                  <a:schemeClr val="bg2">
                    <a:lumMod val="25000"/>
                  </a:schemeClr>
                </a:solidFill>
              </a:defRPr>
            </a:lvl2pPr>
            <a:lvl3pPr marL="8572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&gt;"/>
              <a:defRPr sz="1200">
                <a:solidFill>
                  <a:schemeClr val="bg2">
                    <a:lumMod val="25000"/>
                  </a:schemeClr>
                </a:solidFill>
              </a:defRPr>
            </a:lvl3pPr>
            <a:lvl4pPr marL="12001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Wingdings" panose="05000000000000000000" pitchFamily="2" charset="2"/>
              <a:buChar char="§"/>
              <a:defRPr sz="1200">
                <a:solidFill>
                  <a:schemeClr val="bg2">
                    <a:lumMod val="25000"/>
                  </a:schemeClr>
                </a:solidFill>
              </a:defRPr>
            </a:lvl4pPr>
            <a:lvl5pPr marL="1543050" indent="-17145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494949"/>
              </a:buClr>
              <a:buFont typeface="Arial" panose="020B0604020202020204" pitchFamily="34" charset="0"/>
              <a:buChar char="»"/>
              <a:defRPr sz="1200">
                <a:solidFill>
                  <a:schemeClr val="bg2">
                    <a:lumMod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AB78DD-25DA-1BEA-214B-8FC242AB0FF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521539" y="6553709"/>
            <a:ext cx="7732820" cy="154907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FontTx/>
              <a:buNone/>
              <a:defRPr sz="600">
                <a:solidFill>
                  <a:srgbClr val="494949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BDD0FF-9B1D-07EC-3981-E2184C5017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1865" y="5899680"/>
            <a:ext cx="1221028" cy="783761"/>
          </a:xfrm>
          <a:prstGeom prst="rect">
            <a:avLst/>
          </a:prstGeom>
        </p:spPr>
      </p:pic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69321DD-F4AD-ED59-B7FF-B0B5A2572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0909" y="160020"/>
            <a:ext cx="11687961" cy="777240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052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3" pos="7552">
          <p15:clr>
            <a:srgbClr val="FBAE40"/>
          </p15:clr>
        </p15:guide>
        <p15:guide id="4" pos="128">
          <p15:clr>
            <a:srgbClr val="FBAE40"/>
          </p15:clr>
        </p15:guide>
        <p15:guide id="5" orient="horz" pos="144">
          <p15:clr>
            <a:srgbClr val="FBAE40"/>
          </p15:clr>
        </p15:guide>
        <p15:guide id="6" orient="horz" pos="422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176D47F-A017-297B-620F-5A2D353BD14E}"/>
              </a:ext>
            </a:extLst>
          </p:cNvPr>
          <p:cNvSpPr/>
          <p:nvPr/>
        </p:nvSpPr>
        <p:spPr>
          <a:xfrm>
            <a:off x="0" y="0"/>
            <a:ext cx="12192000" cy="135889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512345" y="284163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12346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8">
            <a:extLst>
              <a:ext uri="{FF2B5EF4-FFF2-40B4-BE49-F238E27FC236}">
                <a16:creationId xmlns:a16="http://schemas.microsoft.com/office/drawing/2014/main" id="{BCA9E357-0231-8ABC-6BB5-EC6336BF7E9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7789" y="1645353"/>
            <a:ext cx="4479012" cy="47386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A175B4C3-E560-4608-98B5-373CC225BC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D432783-DFB8-4862-4C40-74FFEC79AAF8}"/>
              </a:ext>
            </a:extLst>
          </p:cNvPr>
          <p:cNvSpPr txBox="1">
            <a:spLocks/>
          </p:cNvSpPr>
          <p:nvPr userDrawn="1"/>
        </p:nvSpPr>
        <p:spPr>
          <a:xfrm>
            <a:off x="282084" y="6390391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QUIN Integrating non-HIV Services into HIV Programs Meeting | </a:t>
            </a:r>
            <a:r>
              <a:rPr lang="en-US" sz="1100" b="0" dirty="0">
                <a:solidFill>
                  <a:schemeClr val="bg1">
                    <a:lumMod val="65000"/>
                  </a:schemeClr>
                </a:solidFill>
                <a:latin typeface="+mn-lt"/>
                <a:cs typeface="Calibri Light" panose="020F0302020204030204" pitchFamily="34" charset="0"/>
              </a:rPr>
              <a:t>April 15-18, 2024</a:t>
            </a:r>
          </a:p>
        </p:txBody>
      </p:sp>
    </p:spTree>
    <p:extLst>
      <p:ext uri="{BB962C8B-B14F-4D97-AF65-F5344CB8AC3E}">
        <p14:creationId xmlns:p14="http://schemas.microsoft.com/office/powerpoint/2010/main" val="165186921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9F3A56-2912-4F6C-B763-FA01B5A3DBD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78F880-622A-4AD4-AD12-DB8ACC4A855D}"/>
              </a:ext>
            </a:extLst>
          </p:cNvPr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2E4203-C6EB-4A6B-B123-7F7ECE103EA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GB" noProof="0" dirty="0">
                <a:latin typeface="Verdana" panose="020B0604030504040204" pitchFamily="34" charset="0"/>
              </a:rPr>
              <a:t>Name of the Speak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5ACFDB4-E040-4C21-85D2-79A748094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GB" noProof="0" dirty="0"/>
              <a:t>Topic Lore Ipsum</a:t>
            </a:r>
          </a:p>
        </p:txBody>
      </p:sp>
    </p:spTree>
    <p:extLst>
      <p:ext uri="{BB962C8B-B14F-4D97-AF65-F5344CB8AC3E}">
        <p14:creationId xmlns:p14="http://schemas.microsoft.com/office/powerpoint/2010/main" val="2705183890"/>
      </p:ext>
    </p:extLst>
  </p:cSld>
  <p:clrMapOvr>
    <a:masterClrMapping/>
  </p:clrMapOvr>
  <p:hf sldNum="0"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F7FE98-6B0C-4514-B978-11C7B1F2E18D}"/>
              </a:ext>
            </a:extLst>
          </p:cNvPr>
          <p:cNvSpPr/>
          <p:nvPr/>
        </p:nvSpPr>
        <p:spPr>
          <a:xfrm>
            <a:off x="0" y="0"/>
            <a:ext cx="1535185" cy="6858000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38000">
                <a:srgbClr val="022169">
                  <a:shade val="67500"/>
                  <a:satMod val="115000"/>
                </a:srgbClr>
              </a:gs>
              <a:gs pos="100000">
                <a:schemeClr val="tx2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64317" y="520700"/>
            <a:ext cx="9144456" cy="838199"/>
          </a:xfrm>
        </p:spPr>
        <p:txBody>
          <a:bodyPr anchor="t">
            <a:normAutofit/>
          </a:bodyPr>
          <a:lstStyle>
            <a:lvl1pPr algn="l">
              <a:defRPr sz="2800" b="1">
                <a:solidFill>
                  <a:srgbClr val="02216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7491C50-1E72-808D-96D0-D53D36DB48E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64318" y="1511300"/>
            <a:ext cx="9145008" cy="47386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968F065-DCC7-93C0-77AD-2E612574DE9D}"/>
              </a:ext>
            </a:extLst>
          </p:cNvPr>
          <p:cNvSpPr txBox="1">
            <a:spLocks/>
          </p:cNvSpPr>
          <p:nvPr userDrawn="1"/>
        </p:nvSpPr>
        <p:spPr>
          <a:xfrm>
            <a:off x="1758459" y="6402389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QUIN Integrating non-HIV Services into HIV Programs Meeting | </a:t>
            </a:r>
            <a:r>
              <a:rPr lang="en-US" sz="1100" b="0" dirty="0">
                <a:solidFill>
                  <a:schemeClr val="bg1">
                    <a:lumMod val="65000"/>
                  </a:schemeClr>
                </a:solidFill>
                <a:latin typeface="+mn-lt"/>
                <a:cs typeface="Calibri Light" panose="020F0302020204030204" pitchFamily="34" charset="0"/>
              </a:rPr>
              <a:t>April 15-18, 2024</a:t>
            </a:r>
          </a:p>
        </p:txBody>
      </p:sp>
      <p:pic>
        <p:nvPicPr>
          <p:cNvPr id="4" name="Picture 3" descr="A close-up of logos&#10;&#10;Description automatically generated">
            <a:extLst>
              <a:ext uri="{FF2B5EF4-FFF2-40B4-BE49-F238E27FC236}">
                <a16:creationId xmlns:a16="http://schemas.microsoft.com/office/drawing/2014/main" id="{D5772C60-4CD3-9DC9-6414-C62596BDD6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47532" y="6006026"/>
            <a:ext cx="2008177" cy="104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61679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9193226"/>
      </p:ext>
    </p:extLst>
  </p:cSld>
  <p:clrMapOvr>
    <a:masterClrMapping/>
  </p:clrMapOvr>
  <p:transition spd="slow">
    <p:split orient="vert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39DF82-A038-4DAB-A858-F7EBC5209F7E}"/>
              </a:ext>
            </a:extLst>
          </p:cNvPr>
          <p:cNvSpPr/>
          <p:nvPr/>
        </p:nvSpPr>
        <p:spPr>
          <a:xfrm>
            <a:off x="0" y="5936"/>
            <a:ext cx="12192000" cy="6877559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4000">
                <a:srgbClr val="022169">
                  <a:shade val="67500"/>
                  <a:satMod val="115000"/>
                </a:srgbClr>
              </a:gs>
              <a:gs pos="85000">
                <a:schemeClr val="tx2"/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444262" y="3896069"/>
            <a:ext cx="7321061" cy="900863"/>
          </a:xfrm>
        </p:spPr>
        <p:txBody>
          <a:bodyPr anchor="t">
            <a:normAutofit/>
          </a:bodyPr>
          <a:lstStyle>
            <a:lvl1pPr algn="ctr">
              <a:defRPr sz="4000" b="1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CDB90-7F95-46D7-9750-A473B620A46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18475" y="1074861"/>
            <a:ext cx="2355050" cy="2354138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pc="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" name="Picture 1" descr="A close-up of logos&#10;&#10;Description automatically generated">
            <a:extLst>
              <a:ext uri="{FF2B5EF4-FFF2-40B4-BE49-F238E27FC236}">
                <a16:creationId xmlns:a16="http://schemas.microsoft.com/office/drawing/2014/main" id="{6B25C91F-F5A9-D697-8D03-6559B5F100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8" t="1" r="-1888" b="229"/>
          <a:stretch/>
        </p:blipFill>
        <p:spPr>
          <a:xfrm>
            <a:off x="9236107" y="5572197"/>
            <a:ext cx="2792797" cy="100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38544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717238" y="5857892"/>
            <a:ext cx="1507221" cy="1071570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099FED8E-EF33-34FC-F58D-2738C2E90A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59" y="5944572"/>
            <a:ext cx="1824203" cy="87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3966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598FB-024F-FCA1-25AB-EE946C01F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69235" y="6253613"/>
            <a:ext cx="1184563" cy="365125"/>
          </a:xfrm>
        </p:spPr>
        <p:txBody>
          <a:bodyPr/>
          <a:lstStyle/>
          <a:p>
            <a:fld id="{4CB18AF1-BBDD-5C45-BD8A-357304E54C0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E5B84E-A6C3-8BD7-10D0-8641B4CECE37}"/>
              </a:ext>
            </a:extLst>
          </p:cNvPr>
          <p:cNvSpPr/>
          <p:nvPr userDrawn="1"/>
        </p:nvSpPr>
        <p:spPr>
          <a:xfrm>
            <a:off x="0" y="1"/>
            <a:ext cx="12192000" cy="992401"/>
          </a:xfrm>
          <a:prstGeom prst="rect">
            <a:avLst/>
          </a:prstGeom>
          <a:gradFill flip="none" rotWithShape="1">
            <a:gsLst>
              <a:gs pos="0">
                <a:srgbClr val="022169">
                  <a:shade val="30000"/>
                  <a:satMod val="115000"/>
                </a:srgbClr>
              </a:gs>
              <a:gs pos="50000">
                <a:srgbClr val="022169">
                  <a:shade val="67500"/>
                  <a:satMod val="115000"/>
                </a:srgbClr>
              </a:gs>
              <a:gs pos="100000">
                <a:srgbClr val="022169">
                  <a:shade val="100000"/>
                  <a:satMod val="115000"/>
                </a:srgb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C4D388-93FF-804B-BCE4-33966B41B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2" y="6197446"/>
            <a:ext cx="816161" cy="47746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4BD0879-16B9-ED4B-BBC7-4250200EF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258418"/>
            <a:ext cx="10515596" cy="615361"/>
          </a:xfrm>
        </p:spPr>
        <p:txBody>
          <a:bodyPr anchor="ctr">
            <a:normAutofit/>
          </a:bodyPr>
          <a:lstStyle>
            <a:lvl1pPr algn="l">
              <a:defRPr sz="2800" b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4B62AD7-39A1-C679-37D0-FFCAFC57453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38203" y="1250819"/>
            <a:ext cx="10515596" cy="4757788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45720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/>
            </a:lvl2pPr>
            <a:lvl3pPr marL="91440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2400" baseline="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245242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23426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ZA"/>
              <a:t>Slide 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itchFamily="34" charset="0"/>
              </a:defRPr>
            </a:lvl1pPr>
          </a:lstStyle>
          <a:p>
            <a:fld id="{C7CC47C4-3C86-4469-BEE5-35560A3665EF}" type="slidenum">
              <a:rPr lang="en-ZA" altLang="en-US"/>
              <a:pPr/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6106040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3637C1-0809-7247-99D9-8195A891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A25E-CF18-C245-9BB5-8E40FBF338D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4529" y="1567547"/>
            <a:ext cx="10585327" cy="483801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183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422650CF-D129-0944-B1B7-9BD9CBDEA9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34530" y="1649186"/>
            <a:ext cx="10585326" cy="473528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2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F3B1C3-F287-9C46-B95D-4950349E7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4530" y="1087396"/>
            <a:ext cx="10585326" cy="41483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 i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961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35590414"/>
      </p:ext>
    </p:extLst>
  </p:cSld>
  <p:clrMapOvr>
    <a:masterClrMapping/>
  </p:clrMapOvr>
  <p:transition spd="slow">
    <p:split orient="vert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1743690"/>
      </p:ext>
    </p:extLst>
  </p:cSld>
  <p:clrMapOvr>
    <a:masterClrMapping/>
  </p:clrMapOvr>
  <p:transition spd="slow">
    <p:split orient="vert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20467" y="5870484"/>
            <a:ext cx="1411971" cy="1058978"/>
          </a:xfrm>
          <a:prstGeom prst="rect">
            <a:avLst/>
          </a:prstGeom>
        </p:spPr>
      </p:pic>
      <p:pic>
        <p:nvPicPr>
          <p:cNvPr id="2" name="Picture 1" descr="A logo with a flag and numbers&#10;&#10;Description automatically generated">
            <a:extLst>
              <a:ext uri="{FF2B5EF4-FFF2-40B4-BE49-F238E27FC236}">
                <a16:creationId xmlns:a16="http://schemas.microsoft.com/office/drawing/2014/main" id="{6018ED94-2B1B-1E17-16B5-0C075E1763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427" y="5906697"/>
            <a:ext cx="1978587" cy="94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311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88174036"/>
      </p:ext>
    </p:extLst>
  </p:cSld>
  <p:clrMapOvr>
    <a:masterClrMapping/>
  </p:clrMapOvr>
  <p:transition spd="slow">
    <p:split orient="vert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5874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pic>
        <p:nvPicPr>
          <p:cNvPr id="4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447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117" r="49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l="4" r="317" b="1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Straight Connector 9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317626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84E54A-D965-FC50-802E-562CE671CB7A}"/>
              </a:ext>
            </a:extLst>
          </p:cNvPr>
          <p:cNvSpPr/>
          <p:nvPr userDrawn="1"/>
        </p:nvSpPr>
        <p:spPr>
          <a:xfrm>
            <a:off x="0" y="0"/>
            <a:ext cx="12192000" cy="16652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1C2EAF-4008-1240-8C52-9E641194B157}"/>
              </a:ext>
            </a:extLst>
          </p:cNvPr>
          <p:cNvSpPr txBox="1"/>
          <p:nvPr userDrawn="1"/>
        </p:nvSpPr>
        <p:spPr>
          <a:xfrm>
            <a:off x="442913" y="6416675"/>
            <a:ext cx="3673475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23 – 26 July · Brisbane and virtua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B918DAA-45D8-EF4A-B0DE-9DB83618D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5"/>
            <a:ext cx="8891914" cy="1223964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09497C5-5C94-8C43-959D-C5FE7F60E92D}"/>
              </a:ext>
            </a:extLst>
          </p:cNvPr>
          <p:cNvSpPr txBox="1"/>
          <p:nvPr userDrawn="1"/>
        </p:nvSpPr>
        <p:spPr>
          <a:xfrm>
            <a:off x="4116389" y="6416675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GB" sz="1000" b="0" i="0" kern="1200" noProof="0" dirty="0">
                <a:solidFill>
                  <a:schemeClr val="tx1"/>
                </a:solidFill>
                <a:effectLst/>
                <a:latin typeface="+mn-lt"/>
                <a:ea typeface="IAS Ribbon Sans Regular" pitchFamily="2" charset="0"/>
                <a:cs typeface="+mn-cs"/>
              </a:rPr>
              <a:t>ias2023.or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DE0E92-4155-274E-B8D3-6224F5791510}"/>
              </a:ext>
            </a:extLst>
          </p:cNvPr>
          <p:cNvSpPr txBox="1"/>
          <p:nvPr userDrawn="1"/>
        </p:nvSpPr>
        <p:spPr>
          <a:xfrm>
            <a:off x="6312024" y="6416676"/>
            <a:ext cx="1763711" cy="215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endParaRPr lang="en-GB" sz="1000" kern="1200" noProof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236A86-39CA-2553-C598-9D791DE353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44538" y="248400"/>
            <a:ext cx="1608084" cy="1196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13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836DAF4-47F9-4476-B8D0-434FFC694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A114A2-34C8-465E-AA4B-60DB6D08CC5B}" type="datetimeFigureOut">
              <a:rPr lang="en-ZA"/>
              <a:pPr>
                <a:defRPr/>
              </a:pPr>
              <a:t>2024/08/21</a:t>
            </a:fld>
            <a:endParaRPr lang="en-ZA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D9FE6FF-A40F-4C4D-A723-2B1DCF333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B64B2B2-6C29-472A-8C18-0A13CCF05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CB8D5F-B4BC-4B48-A00E-334CA50A51A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0001487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F18A-5F5E-5348-AC9B-FD36B571937D}" type="datetimeFigureOut">
              <a:rPr lang="en-US" smtClean="0"/>
              <a:t>8/2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23BFC-E3A9-3A48-87E5-83E24307F8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501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342907" y="935183"/>
            <a:ext cx="10684879" cy="32557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6B55194-B518-4F2B-834D-7C330032C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9963F70-E9FE-49B5-9FCB-EC92DE6DE9E0}" type="datetimeFigureOut">
              <a:rPr lang="en-US"/>
              <a:pPr>
                <a:defRPr/>
              </a:pPr>
              <a:t>8/21/2024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DA2F095B-DF08-40AE-A67F-6808620771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45DD82AA-7D3E-463E-85EC-A286E8CA8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A5CB812-F736-4544-B5E4-900BF03618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1482268"/>
      </p:ext>
    </p:extLst>
  </p:cSld>
  <p:clrMapOvr>
    <a:masterClrMapping/>
  </p:clrMapOvr>
  <p:transition spd="slow"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598FB-024F-FCA1-25AB-EE946C01F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69235" y="6356350"/>
            <a:ext cx="1184563" cy="365125"/>
          </a:xfrm>
        </p:spPr>
        <p:txBody>
          <a:bodyPr/>
          <a:lstStyle/>
          <a:p>
            <a:fld id="{4CB18AF1-BBDD-5C45-BD8A-357304E54C07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E5B84E-A6C3-8BD7-10D0-8641B4CECE37}"/>
              </a:ext>
            </a:extLst>
          </p:cNvPr>
          <p:cNvSpPr/>
          <p:nvPr userDrawn="1"/>
        </p:nvSpPr>
        <p:spPr>
          <a:xfrm>
            <a:off x="0" y="1"/>
            <a:ext cx="12192000" cy="992401"/>
          </a:xfrm>
          <a:prstGeom prst="rect">
            <a:avLst/>
          </a:prstGeom>
          <a:gradFill flip="none" rotWithShape="1">
            <a:gsLst>
              <a:gs pos="0">
                <a:srgbClr val="7B8CAA"/>
              </a:gs>
              <a:gs pos="50000">
                <a:srgbClr val="7B8CAA"/>
              </a:gs>
              <a:gs pos="100000">
                <a:srgbClr val="7B8CAA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C5EB44C2-0E14-E8BE-A3DF-0B474624BA47}"/>
              </a:ext>
            </a:extLst>
          </p:cNvPr>
          <p:cNvSpPr txBox="1">
            <a:spLocks/>
          </p:cNvSpPr>
          <p:nvPr userDrawn="1"/>
        </p:nvSpPr>
        <p:spPr>
          <a:xfrm>
            <a:off x="2622234" y="6348362"/>
            <a:ext cx="63068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CQUIN 6</a:t>
            </a:r>
            <a:r>
              <a:rPr lang="en-US" baseline="30000" dirty="0"/>
              <a:t>th</a:t>
            </a:r>
            <a:r>
              <a:rPr lang="en-US" dirty="0"/>
              <a:t> Annual Meeting | December 6 – 9, 202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DC4D388-93FF-804B-BCE4-33966B41BC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2" y="6197446"/>
            <a:ext cx="816161" cy="47746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4BD0879-16B9-ED4B-BBC7-4250200EF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3408"/>
            <a:ext cx="10515596" cy="615361"/>
          </a:xfrm>
        </p:spPr>
        <p:txBody>
          <a:bodyPr anchor="t">
            <a:normAutofit/>
          </a:bodyPr>
          <a:lstStyle>
            <a:lvl1pPr algn="l">
              <a:defRPr sz="2400" b="1" baseline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4B62AD7-39A1-C679-37D0-FFCAFC57453E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838203" y="1342176"/>
            <a:ext cx="10515596" cy="4666431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457200" indent="0">
              <a:lnSpc>
                <a:spcPct val="110000"/>
              </a:lnSpc>
              <a:spcBef>
                <a:spcPts val="0"/>
              </a:spcBef>
              <a:buNone/>
              <a:defRPr sz="2000" baseline="0"/>
            </a:lvl2pPr>
            <a:lvl3pPr marL="914400" indent="0">
              <a:lnSpc>
                <a:spcPct val="110000"/>
              </a:lnSpc>
              <a:spcBef>
                <a:spcPts val="0"/>
              </a:spcBef>
              <a:buNone/>
              <a:defRPr sz="2000" baseline="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846024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Logo - NDP - Full colou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1152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55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7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56.xml"/><Relationship Id="rId9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22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3.xml"/><Relationship Id="rId9" Type="http://schemas.openxmlformats.org/officeDocument/2006/relationships/image" Target="../media/image1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2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0.jpe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4.jpeg"/><Relationship Id="rId4" Type="http://schemas.openxmlformats.org/officeDocument/2006/relationships/image" Target="../media/image1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16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7" r:id="rId2"/>
    <p:sldLayoutId id="2147483684" r:id="rId3"/>
    <p:sldLayoutId id="2147483685" r:id="rId4"/>
    <p:sldLayoutId id="2147483692" r:id="rId5"/>
    <p:sldLayoutId id="2147483693" r:id="rId6"/>
    <p:sldLayoutId id="2147483694" r:id="rId7"/>
    <p:sldLayoutId id="2147483724" r:id="rId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9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5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3" r:id="rId5"/>
    <p:sldLayoutId id="2147483764" r:id="rId6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3590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117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  <p:sldLayoutId id="2147483775" r:id="rId3"/>
    <p:sldLayoutId id="2147483776" r:id="rId4"/>
    <p:sldLayoutId id="2147483777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83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8" r:id="rId2"/>
    <p:sldLayoutId id="2147483699" r:id="rId3"/>
    <p:sldLayoutId id="2147483700" r:id="rId4"/>
    <p:sldLayoutId id="2147483701" r:id="rId5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7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Logo - NDP - Full colour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0382280" y="5857892"/>
            <a:ext cx="1507221" cy="1071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016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9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1AF1828-170C-42AE-9BD3-19C0EF8DE06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480376" y="5829666"/>
            <a:ext cx="940016" cy="97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69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0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15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1027" name="Picture 7" descr="NDOH Logo.jp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/>
          <a:srcRect r="25999"/>
          <a:stretch>
            <a:fillRect/>
          </a:stretch>
        </p:blipFill>
        <p:spPr bwMode="auto">
          <a:xfrm>
            <a:off x="10338565" y="7062"/>
            <a:ext cx="157903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5" descr="Logo - NDP - Full colour.jpg"/>
          <p:cNvPicPr>
            <a:picLocks noChangeAspect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7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1AF1828-170C-42AE-9BD3-19C0EF8DE069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480376" y="5829666"/>
            <a:ext cx="940016" cy="97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047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4" r:id="rId8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9654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9" cstate="print"/>
          <a:srcRect r="448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89490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5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074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69" r:id="rId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9" Type="http://schemas.openxmlformats.org/officeDocument/2006/relationships/image" Target="../media/image7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7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6.jpe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5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3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35.pn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43.png"/><Relationship Id="rId10" Type="http://schemas.openxmlformats.org/officeDocument/2006/relationships/image" Target="../media/image34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40.png"/><Relationship Id="rId14" Type="http://schemas.openxmlformats.org/officeDocument/2006/relationships/image" Target="../media/image4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https://clisupport.co.za/Home/Download" TargetMode="Externa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jpeg"/><Relationship Id="rId9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5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2672080" y="1697217"/>
            <a:ext cx="9253407" cy="2302573"/>
          </a:xfrm>
          <a:prstGeom prst="rect">
            <a:avLst/>
          </a:prstGeom>
          <a:solidFill>
            <a:srgbClr val="005C2A"/>
          </a:solidFill>
        </p:spPr>
        <p:txBody>
          <a:bodyPr/>
          <a:lstStyle/>
          <a:p>
            <a:r>
              <a:rPr lang="en-ZA" sz="4800" dirty="0">
                <a:solidFill>
                  <a:schemeClr val="bg1"/>
                </a:solidFill>
              </a:rPr>
              <a:t>WALK THROUGH OF THE NATIONAL RTCQI &amp; CLI PROGRAMME – CLI SUPPORT</a:t>
            </a:r>
            <a:br>
              <a:rPr lang="en-ZA" sz="3200" dirty="0">
                <a:solidFill>
                  <a:srgbClr val="06661B"/>
                </a:solidFill>
              </a:rPr>
            </a:br>
            <a:br>
              <a:rPr lang="en-US" sz="3200" b="1" dirty="0">
                <a:solidFill>
                  <a:schemeClr val="bg1"/>
                </a:solidFill>
              </a:rPr>
            </a:br>
            <a:br>
              <a:rPr lang="en-US" sz="3200" b="1" dirty="0">
                <a:solidFill>
                  <a:schemeClr val="bg1"/>
                </a:solidFill>
              </a:rPr>
            </a:b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10DBB2-E367-3ED4-E279-299EBE349FE3}"/>
              </a:ext>
            </a:extLst>
          </p:cNvPr>
          <p:cNvSpPr txBox="1">
            <a:spLocks/>
          </p:cNvSpPr>
          <p:nvPr/>
        </p:nvSpPr>
        <p:spPr>
          <a:xfrm>
            <a:off x="2877771" y="4644451"/>
            <a:ext cx="9144000" cy="516332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n-ZA" sz="20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06A3D0A-75C1-3862-0593-EF3CFEAD382A}"/>
              </a:ext>
            </a:extLst>
          </p:cNvPr>
          <p:cNvSpPr txBox="1">
            <a:spLocks/>
          </p:cNvSpPr>
          <p:nvPr/>
        </p:nvSpPr>
        <p:spPr>
          <a:xfrm>
            <a:off x="2781487" y="4137326"/>
            <a:ext cx="9144000" cy="1530581"/>
          </a:xfrm>
          <a:prstGeom prst="rect">
            <a:avLst/>
          </a:prstGeom>
          <a:solidFill>
            <a:srgbClr val="CC9900"/>
          </a:solidFill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ZA" sz="3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 A Marsh: Deputy Director: HTS Program Manager</a:t>
            </a:r>
          </a:p>
        </p:txBody>
      </p:sp>
    </p:spTree>
    <p:extLst>
      <p:ext uri="{BB962C8B-B14F-4D97-AF65-F5344CB8AC3E}">
        <p14:creationId xmlns:p14="http://schemas.microsoft.com/office/powerpoint/2010/main" val="26946789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149AC3-A2F7-82BC-3B50-46833CDCE2C2}"/>
              </a:ext>
            </a:extLst>
          </p:cNvPr>
          <p:cNvSpPr txBox="1"/>
          <p:nvPr/>
        </p:nvSpPr>
        <p:spPr>
          <a:xfrm>
            <a:off x="732826" y="233156"/>
            <a:ext cx="67754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bg1">
                    <a:lumMod val="95000"/>
                  </a:schemeClr>
                </a:solidFill>
              </a:rPr>
              <a:t>6. L</a:t>
            </a:r>
            <a:r>
              <a:rPr lang="en-ZA" sz="3200" dirty="0">
                <a:solidFill>
                  <a:schemeClr val="bg1">
                    <a:lumMod val="95000"/>
                  </a:schemeClr>
                </a:solidFill>
              </a:rPr>
              <a:t>ISTS OF SUBMISSIONS VISIBLE</a:t>
            </a:r>
            <a:endParaRPr lang="en-ZA" sz="3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93BBEF0-3DBA-1DD0-6B9C-B14911A927D2}"/>
              </a:ext>
            </a:extLst>
          </p:cNvPr>
          <p:cNvGrpSpPr/>
          <p:nvPr/>
        </p:nvGrpSpPr>
        <p:grpSpPr>
          <a:xfrm>
            <a:off x="817906" y="1524055"/>
            <a:ext cx="8033131" cy="4068877"/>
            <a:chOff x="208993" y="1143521"/>
            <a:chExt cx="12081893" cy="474240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CA05A7DD-FC64-BF29-D3AD-6D72AC993FC5}"/>
                </a:ext>
              </a:extLst>
            </p:cNvPr>
            <p:cNvGrpSpPr/>
            <p:nvPr/>
          </p:nvGrpSpPr>
          <p:grpSpPr>
            <a:xfrm>
              <a:off x="208993" y="1143521"/>
              <a:ext cx="12081893" cy="4742407"/>
              <a:chOff x="1786530" y="1057796"/>
              <a:chExt cx="12081893" cy="4742407"/>
            </a:xfrm>
          </p:grpSpPr>
          <p:pic>
            <p:nvPicPr>
              <p:cNvPr id="9" name="Picture 8" descr="New Macbook Silver.png">
                <a:extLst>
                  <a:ext uri="{FF2B5EF4-FFF2-40B4-BE49-F238E27FC236}">
                    <a16:creationId xmlns:a16="http://schemas.microsoft.com/office/drawing/2014/main" id="{3F1B03B9-E353-BD17-998E-F976307C74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86530" y="1057796"/>
                <a:ext cx="12081893" cy="4742407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564DD95A-1C5C-E176-96BC-43CA47E791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147645" y="1414466"/>
                <a:ext cx="9254563" cy="4029068"/>
              </a:xfrm>
              <a:prstGeom prst="rect">
                <a:avLst/>
              </a:prstGeom>
            </p:spPr>
          </p:pic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018288-C4D3-366F-B42C-877A1500AF50}"/>
                </a:ext>
              </a:extLst>
            </p:cNvPr>
            <p:cNvSpPr/>
            <p:nvPr/>
          </p:nvSpPr>
          <p:spPr>
            <a:xfrm>
              <a:off x="1570108" y="3228392"/>
              <a:ext cx="1130437" cy="308142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5F4383C-B77E-8305-E397-C1E239273423}"/>
                </a:ext>
              </a:extLst>
            </p:cNvPr>
            <p:cNvSpPr/>
            <p:nvPr/>
          </p:nvSpPr>
          <p:spPr>
            <a:xfrm>
              <a:off x="3114589" y="1857508"/>
              <a:ext cx="778565" cy="256714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AA562E7-FA12-C3E6-9264-74604A8FBD7B}"/>
                </a:ext>
              </a:extLst>
            </p:cNvPr>
            <p:cNvSpPr/>
            <p:nvPr/>
          </p:nvSpPr>
          <p:spPr>
            <a:xfrm>
              <a:off x="1933575" y="3329992"/>
              <a:ext cx="209550" cy="184733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1905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85FF31A-264A-4482-1BE1-FC583723E376}"/>
                </a:ext>
              </a:extLst>
            </p:cNvPr>
            <p:cNvSpPr/>
            <p:nvPr/>
          </p:nvSpPr>
          <p:spPr>
            <a:xfrm>
              <a:off x="2143125" y="3334546"/>
              <a:ext cx="209550" cy="184733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1905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8952734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149AC3-A2F7-82BC-3B50-46833CDCE2C2}"/>
              </a:ext>
            </a:extLst>
          </p:cNvPr>
          <p:cNvSpPr txBox="1"/>
          <p:nvPr/>
        </p:nvSpPr>
        <p:spPr>
          <a:xfrm>
            <a:off x="732826" y="233156"/>
            <a:ext cx="8295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bg1">
                    <a:lumMod val="95000"/>
                  </a:schemeClr>
                </a:solidFill>
              </a:rPr>
              <a:t>7. EDITING SUBMISSIONS AND PRINTING PDFs</a:t>
            </a:r>
            <a:endParaRPr lang="en-ZA" sz="32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7BB5F6A-005E-41DE-1DA6-4C5917754141}"/>
              </a:ext>
            </a:extLst>
          </p:cNvPr>
          <p:cNvGrpSpPr/>
          <p:nvPr/>
        </p:nvGrpSpPr>
        <p:grpSpPr>
          <a:xfrm>
            <a:off x="627917" y="2133715"/>
            <a:ext cx="5027925" cy="3247977"/>
            <a:chOff x="1829597" y="1111855"/>
            <a:chExt cx="12081893" cy="4742407"/>
          </a:xfrm>
        </p:grpSpPr>
        <p:pic>
          <p:nvPicPr>
            <p:cNvPr id="5" name="Picture 4" descr="New Macbook Silver.png">
              <a:extLst>
                <a:ext uri="{FF2B5EF4-FFF2-40B4-BE49-F238E27FC236}">
                  <a16:creationId xmlns:a16="http://schemas.microsoft.com/office/drawing/2014/main" id="{1C7D02FA-AFA9-E57D-448E-FA8159B7A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9597" y="1111855"/>
              <a:ext cx="12081893" cy="474240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17D6D4F-AFD5-8269-41D0-E8EFF5B63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05655" y="1492469"/>
              <a:ext cx="9249104" cy="3844844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1C79D50-A0F7-B928-633D-293C76A5889D}"/>
              </a:ext>
            </a:extLst>
          </p:cNvPr>
          <p:cNvGrpSpPr/>
          <p:nvPr/>
        </p:nvGrpSpPr>
        <p:grpSpPr>
          <a:xfrm>
            <a:off x="6536159" y="2133715"/>
            <a:ext cx="5144815" cy="3247977"/>
            <a:chOff x="2404872" y="1057796"/>
            <a:chExt cx="12078437" cy="4742407"/>
          </a:xfrm>
        </p:grpSpPr>
        <p:pic>
          <p:nvPicPr>
            <p:cNvPr id="8" name="Picture 7" descr="New Macbook Silver.png">
              <a:extLst>
                <a:ext uri="{FF2B5EF4-FFF2-40B4-BE49-F238E27FC236}">
                  <a16:creationId xmlns:a16="http://schemas.microsoft.com/office/drawing/2014/main" id="{95E50DAF-0EF0-A72C-C1C0-69149F04E7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4872" y="1057796"/>
              <a:ext cx="12078437" cy="474240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5524893-9A06-92CE-2EFB-C15B920AB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67328" y="1435608"/>
              <a:ext cx="9272016" cy="3867912"/>
            </a:xfrm>
            <a:prstGeom prst="rect">
              <a:avLst/>
            </a:prstGeom>
          </p:spPr>
        </p:pic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B6BC096-6232-024C-1F7A-89E8D6619E5D}"/>
              </a:ext>
            </a:extLst>
          </p:cNvPr>
          <p:cNvSpPr txBox="1">
            <a:spLocks/>
          </p:cNvSpPr>
          <p:nvPr/>
        </p:nvSpPr>
        <p:spPr>
          <a:xfrm>
            <a:off x="1086073" y="1476308"/>
            <a:ext cx="4210819" cy="608037"/>
          </a:xfrm>
          <a:effectLst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800" dirty="0"/>
              <a:t>View and edit submissions</a:t>
            </a:r>
            <a:r>
              <a:rPr lang="en-US" sz="2800" b="1" i="1" dirty="0"/>
              <a:t>	</a:t>
            </a: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4DD52A-5178-2046-0878-FBFDB8CB4B14}"/>
              </a:ext>
            </a:extLst>
          </p:cNvPr>
          <p:cNvSpPr txBox="1">
            <a:spLocks/>
          </p:cNvSpPr>
          <p:nvPr/>
        </p:nvSpPr>
        <p:spPr>
          <a:xfrm>
            <a:off x="7395701" y="1476307"/>
            <a:ext cx="3839858" cy="608037"/>
          </a:xfrm>
          <a:effectLst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800" dirty="0"/>
              <a:t>Download PDF reports</a:t>
            </a:r>
            <a:r>
              <a:rPr lang="en-US" sz="2800" b="1" i="1" dirty="0"/>
              <a:t>	</a:t>
            </a: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985340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149AC3-A2F7-82BC-3B50-46833CDCE2C2}"/>
              </a:ext>
            </a:extLst>
          </p:cNvPr>
          <p:cNvSpPr txBox="1"/>
          <p:nvPr/>
        </p:nvSpPr>
        <p:spPr>
          <a:xfrm>
            <a:off x="234661" y="126624"/>
            <a:ext cx="9427500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ZA" sz="2800" dirty="0">
                <a:solidFill>
                  <a:schemeClr val="bg1">
                    <a:lumMod val="95000"/>
                  </a:schemeClr>
                </a:solidFill>
              </a:rPr>
              <a:t>8. </a:t>
            </a:r>
            <a:r>
              <a:rPr lang="en-ZA" sz="2400" dirty="0">
                <a:solidFill>
                  <a:schemeClr val="bg1">
                    <a:lumMod val="95000"/>
                  </a:schemeClr>
                </a:solidFill>
              </a:rPr>
              <a:t>USER VIEWS REPORTS AND VISUALIZATIONS, REVIEWING </a:t>
            </a:r>
          </a:p>
          <a:p>
            <a:pPr algn="l"/>
            <a:r>
              <a:rPr lang="en-ZA" sz="2400" dirty="0">
                <a:solidFill>
                  <a:schemeClr val="bg1">
                    <a:lumMod val="95000"/>
                  </a:schemeClr>
                </a:solidFill>
              </a:rPr>
              <a:t>PROGRESS AND PLANNING ACTIVITIES (ASSESSMENTS/INTERVENTIONS)</a:t>
            </a:r>
            <a:endParaRPr lang="en-ZA" sz="2400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34BB954-8DA6-36A9-E5C3-87FA6D02C180}"/>
              </a:ext>
            </a:extLst>
          </p:cNvPr>
          <p:cNvGrpSpPr/>
          <p:nvPr/>
        </p:nvGrpSpPr>
        <p:grpSpPr>
          <a:xfrm>
            <a:off x="169919" y="1404554"/>
            <a:ext cx="6364046" cy="4048891"/>
            <a:chOff x="838532" y="1142290"/>
            <a:chExt cx="13866297" cy="4745911"/>
          </a:xfrm>
        </p:grpSpPr>
        <p:pic>
          <p:nvPicPr>
            <p:cNvPr id="25" name="Picture 24" descr="New Macbook Silver.png">
              <a:extLst>
                <a:ext uri="{FF2B5EF4-FFF2-40B4-BE49-F238E27FC236}">
                  <a16:creationId xmlns:a16="http://schemas.microsoft.com/office/drawing/2014/main" id="{1C7D02FA-AFA9-E57D-448E-FA8159B7A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8532" y="1142290"/>
              <a:ext cx="13866297" cy="4745911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EEB3E2-DEA4-F2B5-79F2-3BAA3B0B2C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422782" y="1521641"/>
              <a:ext cx="10568764" cy="3997842"/>
            </a:xfrm>
            <a:prstGeom prst="rect">
              <a:avLst/>
            </a:prstGeom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FA8B3B8-4A1A-06DD-0363-E77372D49E76}"/>
                </a:ext>
              </a:extLst>
            </p:cNvPr>
            <p:cNvGrpSpPr/>
            <p:nvPr/>
          </p:nvGrpSpPr>
          <p:grpSpPr>
            <a:xfrm>
              <a:off x="2626874" y="1574807"/>
              <a:ext cx="9811777" cy="2642642"/>
              <a:chOff x="2840966" y="1424763"/>
              <a:chExt cx="9811777" cy="2642642"/>
            </a:xfrm>
          </p:grpSpPr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5E1A20C-33A7-884E-BBE2-3144D3047B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840967" y="2171716"/>
                <a:ext cx="4771945" cy="1895688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4C0C28BF-045B-3FFD-E165-27014EA473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840966" y="1424763"/>
                <a:ext cx="9811777" cy="496988"/>
              </a:xfrm>
              <a:prstGeom prst="rect">
                <a:avLst/>
              </a:prstGeom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0BAA3D17-8515-C4F4-6434-F4E254B7F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38271" y="2171717"/>
                <a:ext cx="4814472" cy="1895688"/>
              </a:xfrm>
              <a:prstGeom prst="rect">
                <a:avLst/>
              </a:prstGeom>
            </p:spPr>
          </p:pic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4E3E3A3-7CE5-DDC6-C406-420B4FD47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626874" y="4376823"/>
              <a:ext cx="9811777" cy="1132028"/>
            </a:xfrm>
            <a:prstGeom prst="rect">
              <a:avLst/>
            </a:prstGeom>
          </p:spPr>
        </p:pic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5731C31A-FB49-56BE-530F-1E4DBDF2CE7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0919" t="10898" r="3619" b="13347"/>
          <a:stretch/>
        </p:blipFill>
        <p:spPr>
          <a:xfrm>
            <a:off x="7413304" y="1327241"/>
            <a:ext cx="3976056" cy="189219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535718C-FFF5-EB33-A9C0-A81BA403C57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4804" r="27090"/>
          <a:stretch/>
        </p:blipFill>
        <p:spPr>
          <a:xfrm>
            <a:off x="7487920" y="3287426"/>
            <a:ext cx="3807057" cy="2503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37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C149AC3-A2F7-82BC-3B50-46833CDCE2C2}"/>
              </a:ext>
            </a:extLst>
          </p:cNvPr>
          <p:cNvSpPr txBox="1"/>
          <p:nvPr/>
        </p:nvSpPr>
        <p:spPr>
          <a:xfrm>
            <a:off x="732826" y="233156"/>
            <a:ext cx="8295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3200" dirty="0">
                <a:solidFill>
                  <a:schemeClr val="bg1">
                    <a:lumMod val="95000"/>
                  </a:schemeClr>
                </a:solidFill>
              </a:rPr>
              <a:t>9. L</a:t>
            </a:r>
            <a:r>
              <a:rPr lang="en-ZA" sz="3200" dirty="0">
                <a:solidFill>
                  <a:schemeClr val="bg1">
                    <a:lumMod val="95000"/>
                  </a:schemeClr>
                </a:solidFill>
              </a:rPr>
              <a:t>EARNING MANAGEMENT</a:t>
            </a:r>
            <a:endParaRPr lang="en-ZA" sz="3200" dirty="0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B5AE7B-5FA5-5684-1129-C308278B3D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444" t="11111" r="12778" b="9926"/>
          <a:stretch/>
        </p:blipFill>
        <p:spPr>
          <a:xfrm>
            <a:off x="368747" y="1172633"/>
            <a:ext cx="7112000" cy="451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42872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54652-C1A5-4D78-8E27-AC658C388166}"/>
              </a:ext>
            </a:extLst>
          </p:cNvPr>
          <p:cNvSpPr txBox="1">
            <a:spLocks/>
          </p:cNvSpPr>
          <p:nvPr/>
        </p:nvSpPr>
        <p:spPr>
          <a:xfrm>
            <a:off x="-416559" y="172720"/>
            <a:ext cx="10820400" cy="626838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sz="3600" dirty="0">
                <a:solidFill>
                  <a:schemeClr val="bg1">
                    <a:lumMod val="95000"/>
                  </a:schemeClr>
                </a:solidFill>
              </a:rPr>
              <a:t>10. LEARNING MANAGEMENT TOOLS</a:t>
            </a:r>
            <a:br>
              <a:rPr lang="en-ZA" sz="3200" dirty="0">
                <a:solidFill>
                  <a:schemeClr val="bg1">
                    <a:lumMod val="85000"/>
                  </a:schemeClr>
                </a:solidFill>
              </a:rPr>
            </a:br>
            <a:endParaRPr lang="en-ZA" sz="3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7F106A-E02E-D3F7-38AB-B24F63652960}"/>
              </a:ext>
            </a:extLst>
          </p:cNvPr>
          <p:cNvSpPr txBox="1">
            <a:spLocks/>
          </p:cNvSpPr>
          <p:nvPr/>
        </p:nvSpPr>
        <p:spPr>
          <a:xfrm>
            <a:off x="142240" y="1076960"/>
            <a:ext cx="9956800" cy="538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2"/>
            <a:r>
              <a:rPr lang="en-ZA" sz="2400" dirty="0"/>
              <a:t>Intervention and learning management is becoming integrated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26B5E45-066F-BA0E-A11C-7EE4CE2D4861}"/>
              </a:ext>
            </a:extLst>
          </p:cNvPr>
          <p:cNvGrpSpPr/>
          <p:nvPr/>
        </p:nvGrpSpPr>
        <p:grpSpPr>
          <a:xfrm>
            <a:off x="142240" y="1615440"/>
            <a:ext cx="3272833" cy="4039097"/>
            <a:chOff x="7385913" y="1100030"/>
            <a:chExt cx="2344986" cy="451969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CAC5DC4B-7E46-4662-0E56-5F04BFEE58B5}"/>
                </a:ext>
              </a:extLst>
            </p:cNvPr>
            <p:cNvGrpSpPr/>
            <p:nvPr/>
          </p:nvGrpSpPr>
          <p:grpSpPr>
            <a:xfrm>
              <a:off x="7385913" y="1100030"/>
              <a:ext cx="2344986" cy="4519699"/>
              <a:chOff x="8381697" y="1124438"/>
              <a:chExt cx="2344986" cy="4519699"/>
            </a:xfrm>
          </p:grpSpPr>
          <p:grpSp>
            <p:nvGrpSpPr>
              <p:cNvPr id="29" name="Smartphone">
                <a:extLst>
                  <a:ext uri="{FF2B5EF4-FFF2-40B4-BE49-F238E27FC236}">
                    <a16:creationId xmlns:a16="http://schemas.microsoft.com/office/drawing/2014/main" id="{6DB64A4F-1432-451E-AA9F-3A1E00AD2E3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381697" y="1124438"/>
                <a:ext cx="2344986" cy="4519699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1" name="Case">
                  <a:extLst>
                    <a:ext uri="{FF2B5EF4-FFF2-40B4-BE49-F238E27FC236}">
                      <a16:creationId xmlns:a16="http://schemas.microsoft.com/office/drawing/2014/main" id="{3D8EAB93-330D-63EE-F812-D6213FA543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2" name="Button">
                  <a:extLst>
                    <a:ext uri="{FF2B5EF4-FFF2-40B4-BE49-F238E27FC236}">
                      <a16:creationId xmlns:a16="http://schemas.microsoft.com/office/drawing/2014/main" id="{F205B56F-2C2F-D82A-0E11-29EF0B7E23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3" name="Camera">
                  <a:extLst>
                    <a:ext uri="{FF2B5EF4-FFF2-40B4-BE49-F238E27FC236}">
                      <a16:creationId xmlns:a16="http://schemas.microsoft.com/office/drawing/2014/main" id="{27CE3318-E1EB-21E9-E9AA-77844FDCC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4" name="Speaker">
                  <a:extLst>
                    <a:ext uri="{FF2B5EF4-FFF2-40B4-BE49-F238E27FC236}">
                      <a16:creationId xmlns:a16="http://schemas.microsoft.com/office/drawing/2014/main" id="{B5F57AD1-7DC1-30D9-1D94-7DB5CE1D9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5" name="Display">
                  <a:extLst>
                    <a:ext uri="{FF2B5EF4-FFF2-40B4-BE49-F238E27FC236}">
                      <a16:creationId xmlns:a16="http://schemas.microsoft.com/office/drawing/2014/main" id="{22703A4D-46B2-5E4E-A0D5-CB7493CE6CCC}"/>
                    </a:ext>
                  </a:extLst>
                </p:cNvPr>
                <p:cNvSpPr/>
                <p:nvPr/>
              </p:nvSpPr>
              <p:spPr>
                <a:xfrm>
                  <a:off x="9262549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B31063E7-B8CB-318D-C108-603B9FC40C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8473071" y="1517208"/>
                <a:ext cx="2162238" cy="3769126"/>
              </a:xfrm>
              <a:prstGeom prst="rect">
                <a:avLst/>
              </a:prstGeom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3F3D425-C721-7A25-7E33-31544CF1C669}"/>
                </a:ext>
              </a:extLst>
            </p:cNvPr>
            <p:cNvSpPr/>
            <p:nvPr/>
          </p:nvSpPr>
          <p:spPr>
            <a:xfrm>
              <a:off x="7506623" y="4460240"/>
              <a:ext cx="2064097" cy="294640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061089A1-6444-CFDD-3AF7-B0F003114E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27812" y="2216033"/>
            <a:ext cx="2268188" cy="2030506"/>
          </a:xfrm>
          <a:prstGeom prst="rect">
            <a:avLst/>
          </a:prstGeom>
          <a:ln w="28575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C4BDEB4B-F199-399E-15F6-95943C702E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5083" y="1615440"/>
            <a:ext cx="3913429" cy="1813560"/>
          </a:xfrm>
          <a:prstGeom prst="rect">
            <a:avLst/>
          </a:prstGeom>
          <a:ln w="28575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85E9E8B-A358-EEDB-B2FC-6A24E6FA07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4521" y="3703676"/>
            <a:ext cx="3913429" cy="2026131"/>
          </a:xfrm>
          <a:prstGeom prst="rect">
            <a:avLst/>
          </a:prstGeom>
          <a:ln w="28575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68541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54652-C1A5-4D78-8E27-AC658C388166}"/>
              </a:ext>
            </a:extLst>
          </p:cNvPr>
          <p:cNvSpPr txBox="1">
            <a:spLocks/>
          </p:cNvSpPr>
          <p:nvPr/>
        </p:nvSpPr>
        <p:spPr>
          <a:xfrm>
            <a:off x="494009" y="70810"/>
            <a:ext cx="6450512" cy="1064028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>
                    <a:lumMod val="95000"/>
                  </a:schemeClr>
                </a:solidFill>
              </a:rPr>
              <a:t>11. SYSTEM SPECIFICATIONS </a:t>
            </a:r>
            <a:br>
              <a:rPr lang="en-ZA" sz="3600" dirty="0">
                <a:solidFill>
                  <a:schemeClr val="bg1">
                    <a:lumMod val="85000"/>
                  </a:schemeClr>
                </a:solidFill>
              </a:rPr>
            </a:br>
            <a:endParaRPr lang="en-ZA" sz="3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0686D3C-E7C6-4FBF-E2EF-F9DD9A578AD0}"/>
              </a:ext>
            </a:extLst>
          </p:cNvPr>
          <p:cNvSpPr txBox="1"/>
          <p:nvPr/>
        </p:nvSpPr>
        <p:spPr>
          <a:xfrm>
            <a:off x="284480" y="1134839"/>
            <a:ext cx="8867140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000" b="1" dirty="0"/>
              <a:t>Open-source</a:t>
            </a:r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3000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3000" b="1" dirty="0"/>
              <a:t>Platform agnostic / independent </a:t>
            </a:r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3000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3000" b="1" dirty="0"/>
              <a:t>Works offline</a:t>
            </a:r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sz="3000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3000" b="1" dirty="0"/>
              <a:t>Accessible devices (Android) &amp; laptop</a:t>
            </a:r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ZA" sz="3000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ZA" sz="3000" b="1" dirty="0"/>
              <a:t>Can be part of a hybrid system with paper-based legacy</a:t>
            </a:r>
          </a:p>
        </p:txBody>
      </p:sp>
    </p:spTree>
    <p:extLst>
      <p:ext uri="{BB962C8B-B14F-4D97-AF65-F5344CB8AC3E}">
        <p14:creationId xmlns:p14="http://schemas.microsoft.com/office/powerpoint/2010/main" val="19187402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54652-C1A5-4D78-8E27-AC658C388166}"/>
              </a:ext>
            </a:extLst>
          </p:cNvPr>
          <p:cNvSpPr txBox="1">
            <a:spLocks/>
          </p:cNvSpPr>
          <p:nvPr/>
        </p:nvSpPr>
        <p:spPr>
          <a:xfrm>
            <a:off x="494009" y="70810"/>
            <a:ext cx="6450512" cy="1064028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>
                    <a:lumMod val="95000"/>
                  </a:schemeClr>
                </a:solidFill>
              </a:rPr>
              <a:t>12. SYSTEM ARCHITECTURE</a:t>
            </a:r>
            <a:br>
              <a:rPr lang="en-ZA" sz="3600" dirty="0">
                <a:solidFill>
                  <a:schemeClr val="bg1">
                    <a:lumMod val="85000"/>
                  </a:schemeClr>
                </a:solidFill>
              </a:rPr>
            </a:br>
            <a:br>
              <a:rPr lang="en-ZA" sz="3600" dirty="0">
                <a:solidFill>
                  <a:schemeClr val="bg1">
                    <a:lumMod val="85000"/>
                  </a:schemeClr>
                </a:solidFill>
              </a:rPr>
            </a:br>
            <a:endParaRPr lang="en-ZA" sz="3600" dirty="0">
              <a:solidFill>
                <a:schemeClr val="bg1">
                  <a:lumMod val="85000"/>
                </a:schemeClr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941C17-78A3-5525-2C5D-777E82C33CD8}"/>
              </a:ext>
            </a:extLst>
          </p:cNvPr>
          <p:cNvGrpSpPr/>
          <p:nvPr/>
        </p:nvGrpSpPr>
        <p:grpSpPr>
          <a:xfrm>
            <a:off x="0" y="1134838"/>
            <a:ext cx="11603367" cy="4360393"/>
            <a:chOff x="1656369" y="287338"/>
            <a:chExt cx="8559316" cy="6008500"/>
          </a:xfrm>
        </p:grpSpPr>
        <p:pic>
          <p:nvPicPr>
            <p:cNvPr id="7" name="Picture 6" descr="A screen shot of a computer&#10;&#10;Description automatically generated">
              <a:extLst>
                <a:ext uri="{FF2B5EF4-FFF2-40B4-BE49-F238E27FC236}">
                  <a16:creationId xmlns:a16="http://schemas.microsoft.com/office/drawing/2014/main" id="{75C49CF2-7656-68F8-EBA1-09F4AF604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6369" y="1359404"/>
              <a:ext cx="3478453" cy="396398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F671F1D-E62E-96BF-89F4-0D5AF563F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6029" y="4895639"/>
              <a:ext cx="3365500" cy="1400199"/>
            </a:xfrm>
            <a:prstGeom prst="rect">
              <a:avLst/>
            </a:prstGeom>
          </p:spPr>
        </p:pic>
        <p:pic>
          <p:nvPicPr>
            <p:cNvPr id="9" name="Picture 8" descr="A diagram of a system&#10;&#10;Description automatically generated">
              <a:extLst>
                <a:ext uri="{FF2B5EF4-FFF2-40B4-BE49-F238E27FC236}">
                  <a16:creationId xmlns:a16="http://schemas.microsoft.com/office/drawing/2014/main" id="{36E9AF03-C2B1-61B2-B273-517C267C0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9172" y="2222499"/>
              <a:ext cx="5366513" cy="2790301"/>
            </a:xfrm>
            <a:prstGeom prst="rect">
              <a:avLst/>
            </a:prstGeom>
          </p:spPr>
        </p:pic>
        <p:pic>
          <p:nvPicPr>
            <p:cNvPr id="10" name="Picture 9" descr="A screenshot of a phone&#10;&#10;Description automatically generated">
              <a:extLst>
                <a:ext uri="{FF2B5EF4-FFF2-40B4-BE49-F238E27FC236}">
                  <a16:creationId xmlns:a16="http://schemas.microsoft.com/office/drawing/2014/main" id="{1C1D0064-D047-97E8-7BAA-30D57BEF2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8429" y="2205150"/>
              <a:ext cx="2432050" cy="3105541"/>
            </a:xfrm>
            <a:prstGeom prst="rect">
              <a:avLst/>
            </a:prstGeom>
          </p:spPr>
        </p:pic>
        <p:pic>
          <p:nvPicPr>
            <p:cNvPr id="11" name="Picture 10" descr="A computer screen shot of a computer&#10;&#10;Description automatically generated">
              <a:extLst>
                <a:ext uri="{FF2B5EF4-FFF2-40B4-BE49-F238E27FC236}">
                  <a16:creationId xmlns:a16="http://schemas.microsoft.com/office/drawing/2014/main" id="{3F58FA11-431C-C67C-8168-40783785B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8104" y="287338"/>
              <a:ext cx="5267325" cy="19827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7801E22-B6EB-45C0-E881-B5D37AF121AB}"/>
                </a:ext>
              </a:extLst>
            </p:cNvPr>
            <p:cNvSpPr txBox="1"/>
            <p:nvPr/>
          </p:nvSpPr>
          <p:spPr>
            <a:xfrm>
              <a:off x="6429590" y="2280564"/>
              <a:ext cx="149336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DoH Programme X</a:t>
              </a:r>
              <a:endParaRPr lang="en-ZA" sz="1200" b="1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8E12767-DBB9-849C-986F-E5455C816D95}"/>
                </a:ext>
              </a:extLst>
            </p:cNvPr>
            <p:cNvSpPr txBox="1"/>
            <p:nvPr/>
          </p:nvSpPr>
          <p:spPr>
            <a:xfrm>
              <a:off x="8658440" y="2286914"/>
              <a:ext cx="149336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200" b="1" dirty="0"/>
                <a:t>DoH Programme Y</a:t>
              </a:r>
              <a:endParaRPr lang="en-ZA" sz="1200" b="1" dirty="0"/>
            </a:p>
          </p:txBody>
        </p:sp>
      </p:grpSp>
      <p:pic>
        <p:nvPicPr>
          <p:cNvPr id="14" name="Picture 13" descr="A screenshot of a cell phone">
            <a:extLst>
              <a:ext uri="{FF2B5EF4-FFF2-40B4-BE49-F238E27FC236}">
                <a16:creationId xmlns:a16="http://schemas.microsoft.com/office/drawing/2014/main" id="{3955E02A-19DA-BBFB-9E90-142C685D47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479" y="5339956"/>
            <a:ext cx="3148135" cy="1257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37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54652-C1A5-4D78-8E27-AC658C388166}"/>
              </a:ext>
            </a:extLst>
          </p:cNvPr>
          <p:cNvSpPr txBox="1">
            <a:spLocks/>
          </p:cNvSpPr>
          <p:nvPr/>
        </p:nvSpPr>
        <p:spPr>
          <a:xfrm>
            <a:off x="494009" y="70810"/>
            <a:ext cx="6450512" cy="1064028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ZA" sz="3600" dirty="0">
                <a:solidFill>
                  <a:schemeClr val="bg1">
                    <a:lumMod val="85000"/>
                  </a:schemeClr>
                </a:solidFill>
              </a:rPr>
            </a:br>
            <a:br>
              <a:rPr lang="en-ZA" sz="3600" dirty="0">
                <a:solidFill>
                  <a:schemeClr val="bg1">
                    <a:lumMod val="85000"/>
                  </a:schemeClr>
                </a:solidFill>
              </a:rPr>
            </a:br>
            <a:endParaRPr lang="en-ZA" sz="3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B32C45-A48A-9646-DE8A-FCBF605C1F26}"/>
              </a:ext>
            </a:extLst>
          </p:cNvPr>
          <p:cNvSpPr txBox="1"/>
          <p:nvPr/>
        </p:nvSpPr>
        <p:spPr>
          <a:xfrm>
            <a:off x="629920" y="294640"/>
            <a:ext cx="852170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3800" dirty="0">
                <a:solidFill>
                  <a:schemeClr val="bg1">
                    <a:lumMod val="95000"/>
                  </a:schemeClr>
                </a:solidFill>
              </a:rPr>
              <a:t>13. INTEGRATION AND HANDOVER PLAN</a:t>
            </a:r>
            <a:endParaRPr lang="en-ZA" sz="3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09895A2-D3E7-9A88-91F0-2E3FB66BD9F5}"/>
              </a:ext>
            </a:extLst>
          </p:cNvPr>
          <p:cNvSpPr txBox="1"/>
          <p:nvPr/>
        </p:nvSpPr>
        <p:spPr>
          <a:xfrm>
            <a:off x="254000" y="1340902"/>
            <a:ext cx="10769600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2200" dirty="0"/>
              <a:t>1. </a:t>
            </a:r>
            <a:r>
              <a:rPr lang="en-US" sz="2200" b="1" dirty="0"/>
              <a:t>Orientation: </a:t>
            </a:r>
            <a:r>
              <a:rPr lang="en-US" sz="2200" dirty="0"/>
              <a:t>September to November 2024</a:t>
            </a:r>
          </a:p>
          <a:p>
            <a:pPr>
              <a:spcBef>
                <a:spcPts val="0"/>
              </a:spcBef>
            </a:pPr>
            <a:endParaRPr lang="en-US" sz="2200" dirty="0"/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Get to know the </a:t>
            </a:r>
            <a:r>
              <a:rPr lang="en-US" sz="2200" dirty="0" err="1"/>
              <a:t>programme</a:t>
            </a:r>
            <a:r>
              <a:rPr lang="en-US" sz="2200" dirty="0"/>
              <a:t> and system, work with it to see what works well for you and what you would like to change</a:t>
            </a:r>
          </a:p>
          <a:p>
            <a:pPr>
              <a:spcBef>
                <a:spcPts val="0"/>
              </a:spcBef>
            </a:pPr>
            <a:endParaRPr lang="en-US" sz="2200" dirty="0"/>
          </a:p>
          <a:p>
            <a:pPr>
              <a:spcBef>
                <a:spcPts val="0"/>
              </a:spcBef>
            </a:pPr>
            <a:r>
              <a:rPr lang="en-US" sz="2200" dirty="0"/>
              <a:t>2. </a:t>
            </a:r>
            <a:r>
              <a:rPr lang="en-US" sz="2200" b="1" dirty="0"/>
              <a:t>Reconfigure: </a:t>
            </a:r>
            <a:r>
              <a:rPr lang="en-US" sz="2200" dirty="0"/>
              <a:t>December to February 2025</a:t>
            </a:r>
          </a:p>
          <a:p>
            <a:pPr>
              <a:spcBef>
                <a:spcPts val="0"/>
              </a:spcBef>
            </a:pPr>
            <a:endParaRPr lang="en-US" sz="2200" dirty="0"/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Make adjustments to the </a:t>
            </a:r>
            <a:r>
              <a:rPr lang="en-US" sz="2200" dirty="0" err="1"/>
              <a:t>programme</a:t>
            </a:r>
            <a:r>
              <a:rPr lang="en-US" sz="2200" dirty="0"/>
              <a:t> and system based on feedback above</a:t>
            </a:r>
          </a:p>
          <a:p>
            <a:pPr>
              <a:spcBef>
                <a:spcPts val="0"/>
              </a:spcBef>
            </a:pPr>
            <a:endParaRPr lang="en-US" sz="2200" dirty="0"/>
          </a:p>
          <a:p>
            <a:pPr>
              <a:spcBef>
                <a:spcPts val="0"/>
              </a:spcBef>
            </a:pPr>
            <a:r>
              <a:rPr lang="en-US" sz="2200" dirty="0"/>
              <a:t>3. </a:t>
            </a:r>
            <a:r>
              <a:rPr lang="en-US" sz="2200" b="1" dirty="0"/>
              <a:t>Full system handover: </a:t>
            </a:r>
            <a:r>
              <a:rPr lang="en-US" sz="2200" dirty="0"/>
              <a:t>March to September 2025</a:t>
            </a:r>
          </a:p>
          <a:p>
            <a:pPr>
              <a:spcBef>
                <a:spcPts val="0"/>
              </a:spcBef>
            </a:pPr>
            <a:endParaRPr lang="en-US" sz="2200" b="1" dirty="0"/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/>
              <a:t>Managed handover to DOH internal IT/preparation for external contractor</a:t>
            </a:r>
            <a:endParaRPr lang="en-US" sz="2200" b="1" dirty="0"/>
          </a:p>
        </p:txBody>
      </p:sp>
    </p:spTree>
    <p:extLst>
      <p:ext uri="{BB962C8B-B14F-4D97-AF65-F5344CB8AC3E}">
        <p14:creationId xmlns:p14="http://schemas.microsoft.com/office/powerpoint/2010/main" val="13812469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515092-BD90-41C9-A616-BE2384A7B25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386081" y="193040"/>
            <a:ext cx="10474961" cy="819683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THANK YOU </a:t>
            </a:r>
            <a:endParaRPr lang="en-DK" b="1" dirty="0">
              <a:solidFill>
                <a:schemeClr val="bg1"/>
              </a:solidFill>
            </a:endParaRPr>
          </a:p>
        </p:txBody>
      </p:sp>
      <p:pic>
        <p:nvPicPr>
          <p:cNvPr id="1028" name="Picture 4" descr="South African Bone Marrow Registry ...">
            <a:extLst>
              <a:ext uri="{FF2B5EF4-FFF2-40B4-BE49-F238E27FC236}">
                <a16:creationId xmlns:a16="http://schemas.microsoft.com/office/drawing/2014/main" id="{5DDBC9A6-D6FE-0FBB-DD9D-6BB94BA0AC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" y="1168400"/>
            <a:ext cx="4307841" cy="445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015EF41-EACD-827C-2AB1-659C2A4BA726}"/>
              </a:ext>
            </a:extLst>
          </p:cNvPr>
          <p:cNvSpPr txBox="1"/>
          <p:nvPr/>
        </p:nvSpPr>
        <p:spPr>
          <a:xfrm>
            <a:off x="5252720" y="1300480"/>
            <a:ext cx="454152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i="1" dirty="0"/>
              <a:t>SPECIAL THANKS TO </a:t>
            </a:r>
          </a:p>
          <a:p>
            <a:endParaRPr lang="en-US" sz="3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/>
              <a:t>CDC, South Africa tea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/>
              <a:t>TB HIV/CARE </a:t>
            </a:r>
            <a:endParaRPr lang="en-ZA" sz="3200" dirty="0"/>
          </a:p>
        </p:txBody>
      </p:sp>
    </p:spTree>
    <p:extLst>
      <p:ext uri="{BB962C8B-B14F-4D97-AF65-F5344CB8AC3E}">
        <p14:creationId xmlns:p14="http://schemas.microsoft.com/office/powerpoint/2010/main" val="1643207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264160" y="121920"/>
            <a:ext cx="10078720" cy="1295718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4000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lang="en-ZA" sz="4000" dirty="0">
                <a:solidFill>
                  <a:schemeClr val="bg1">
                    <a:lumMod val="95000"/>
                  </a:schemeClr>
                </a:solidFill>
              </a:rPr>
              <a:t>VERVIEW: THE NATIONAL CLI SUPPORT PLATFORM</a:t>
            </a:r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033D6E6-D891-1776-6EB8-82F80623F396}"/>
              </a:ext>
            </a:extLst>
          </p:cNvPr>
          <p:cNvGrpSpPr/>
          <p:nvPr/>
        </p:nvGrpSpPr>
        <p:grpSpPr>
          <a:xfrm>
            <a:off x="337351" y="1182466"/>
            <a:ext cx="2539013" cy="3842295"/>
            <a:chOff x="8616928" y="1317715"/>
            <a:chExt cx="2344986" cy="4469462"/>
          </a:xfrm>
        </p:grpSpPr>
        <p:grpSp>
          <p:nvGrpSpPr>
            <p:cNvPr id="7" name="Smartphone">
              <a:extLst>
                <a:ext uri="{FF2B5EF4-FFF2-40B4-BE49-F238E27FC236}">
                  <a16:creationId xmlns:a16="http://schemas.microsoft.com/office/drawing/2014/main" id="{D88C5D51-4945-D016-AF75-E1001379E86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16928" y="1317715"/>
              <a:ext cx="2344986" cy="4469462"/>
              <a:chOff x="9165945" y="1228296"/>
              <a:chExt cx="2479208" cy="4859248"/>
            </a:xfrm>
            <a:solidFill>
              <a:schemeClr val="bg1">
                <a:lumMod val="95000"/>
              </a:schemeClr>
            </a:solidFill>
          </p:grpSpPr>
          <p:sp>
            <p:nvSpPr>
              <p:cNvPr id="5" name="Case">
                <a:extLst>
                  <a:ext uri="{FF2B5EF4-FFF2-40B4-BE49-F238E27FC236}">
                    <a16:creationId xmlns:a16="http://schemas.microsoft.com/office/drawing/2014/main" id="{96A17170-7D04-F393-1691-D002F55A2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5945" y="1228296"/>
                <a:ext cx="2479208" cy="4859248"/>
              </a:xfrm>
              <a:custGeom>
                <a:avLst/>
                <a:gdLst>
                  <a:gd name="T0" fmla="*/ 403 w 4052"/>
                  <a:gd name="T1" fmla="*/ 0 h 7922"/>
                  <a:gd name="T2" fmla="*/ 3649 w 4052"/>
                  <a:gd name="T3" fmla="*/ 0 h 7922"/>
                  <a:gd name="T4" fmla="*/ 4052 w 4052"/>
                  <a:gd name="T5" fmla="*/ 403 h 7922"/>
                  <a:gd name="T6" fmla="*/ 4052 w 4052"/>
                  <a:gd name="T7" fmla="*/ 7519 h 7922"/>
                  <a:gd name="T8" fmla="*/ 3649 w 4052"/>
                  <a:gd name="T9" fmla="*/ 7922 h 7922"/>
                  <a:gd name="T10" fmla="*/ 403 w 4052"/>
                  <a:gd name="T11" fmla="*/ 7922 h 7922"/>
                  <a:gd name="T12" fmla="*/ 0 w 4052"/>
                  <a:gd name="T13" fmla="*/ 7519 h 7922"/>
                  <a:gd name="T14" fmla="*/ 0 w 4052"/>
                  <a:gd name="T15" fmla="*/ 403 h 7922"/>
                  <a:gd name="T16" fmla="*/ 403 w 4052"/>
                  <a:gd name="T17" fmla="*/ 0 h 7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52" h="7922">
                    <a:moveTo>
                      <a:pt x="403" y="0"/>
                    </a:moveTo>
                    <a:lnTo>
                      <a:pt x="3649" y="0"/>
                    </a:lnTo>
                    <a:cubicBezTo>
                      <a:pt x="3872" y="0"/>
                      <a:pt x="4052" y="179"/>
                      <a:pt x="4052" y="403"/>
                    </a:cubicBezTo>
                    <a:lnTo>
                      <a:pt x="4052" y="7519"/>
                    </a:lnTo>
                    <a:cubicBezTo>
                      <a:pt x="4052" y="7742"/>
                      <a:pt x="3872" y="7922"/>
                      <a:pt x="3649" y="7922"/>
                    </a:cubicBezTo>
                    <a:lnTo>
                      <a:pt x="403" y="7922"/>
                    </a:lnTo>
                    <a:cubicBezTo>
                      <a:pt x="180" y="7922"/>
                      <a:pt x="0" y="7742"/>
                      <a:pt x="0" y="7519"/>
                    </a:cubicBezTo>
                    <a:lnTo>
                      <a:pt x="0" y="403"/>
                    </a:lnTo>
                    <a:cubicBezTo>
                      <a:pt x="0" y="179"/>
                      <a:pt x="180" y="0"/>
                      <a:pt x="403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" name="Button">
                <a:extLst>
                  <a:ext uri="{FF2B5EF4-FFF2-40B4-BE49-F238E27FC236}">
                    <a16:creationId xmlns:a16="http://schemas.microsoft.com/office/drawing/2014/main" id="{EB2453EE-1B55-6D6D-7775-87F6A80CC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1072" y="5811732"/>
                <a:ext cx="488955" cy="161837"/>
              </a:xfrm>
              <a:custGeom>
                <a:avLst/>
                <a:gdLst>
                  <a:gd name="T0" fmla="*/ 131 w 796"/>
                  <a:gd name="T1" fmla="*/ 0 h 262"/>
                  <a:gd name="T2" fmla="*/ 665 w 796"/>
                  <a:gd name="T3" fmla="*/ 0 h 262"/>
                  <a:gd name="T4" fmla="*/ 796 w 796"/>
                  <a:gd name="T5" fmla="*/ 131 h 262"/>
                  <a:gd name="T6" fmla="*/ 665 w 796"/>
                  <a:gd name="T7" fmla="*/ 262 h 262"/>
                  <a:gd name="T8" fmla="*/ 131 w 796"/>
                  <a:gd name="T9" fmla="*/ 262 h 262"/>
                  <a:gd name="T10" fmla="*/ 0 w 796"/>
                  <a:gd name="T11" fmla="*/ 131 h 262"/>
                  <a:gd name="T12" fmla="*/ 131 w 796"/>
                  <a:gd name="T1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6" h="262">
                    <a:moveTo>
                      <a:pt x="131" y="0"/>
                    </a:moveTo>
                    <a:lnTo>
                      <a:pt x="665" y="0"/>
                    </a:lnTo>
                    <a:cubicBezTo>
                      <a:pt x="738" y="0"/>
                      <a:pt x="796" y="59"/>
                      <a:pt x="796" y="131"/>
                    </a:cubicBezTo>
                    <a:cubicBezTo>
                      <a:pt x="796" y="204"/>
                      <a:pt x="738" y="262"/>
                      <a:pt x="665" y="262"/>
                    </a:cubicBezTo>
                    <a:lnTo>
                      <a:pt x="131" y="262"/>
                    </a:lnTo>
                    <a:cubicBezTo>
                      <a:pt x="58" y="262"/>
                      <a:pt x="0" y="204"/>
                      <a:pt x="0" y="131"/>
                    </a:cubicBezTo>
                    <a:cubicBezTo>
                      <a:pt x="0" y="59"/>
                      <a:pt x="58" y="0"/>
                      <a:pt x="131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Camera">
                <a:extLst>
                  <a:ext uri="{FF2B5EF4-FFF2-40B4-BE49-F238E27FC236}">
                    <a16:creationId xmlns:a16="http://schemas.microsoft.com/office/drawing/2014/main" id="{BC5889FD-7A0E-DECA-1B28-833C9FD6C7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31952" y="1352256"/>
                <a:ext cx="123960" cy="123960"/>
              </a:xfrm>
              <a:prstGeom prst="ellipse">
                <a:avLst/>
              </a:pr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Speaker">
                <a:extLst>
                  <a:ext uri="{FF2B5EF4-FFF2-40B4-BE49-F238E27FC236}">
                    <a16:creationId xmlns:a16="http://schemas.microsoft.com/office/drawing/2014/main" id="{1635F10C-A469-562D-18E9-9BB7085D6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0411" y="1414237"/>
                <a:ext cx="530275" cy="61980"/>
              </a:xfrm>
              <a:custGeom>
                <a:avLst/>
                <a:gdLst>
                  <a:gd name="T0" fmla="*/ 50 w 866"/>
                  <a:gd name="T1" fmla="*/ 0 h 101"/>
                  <a:gd name="T2" fmla="*/ 816 w 866"/>
                  <a:gd name="T3" fmla="*/ 0 h 101"/>
                  <a:gd name="T4" fmla="*/ 866 w 866"/>
                  <a:gd name="T5" fmla="*/ 50 h 101"/>
                  <a:gd name="T6" fmla="*/ 816 w 866"/>
                  <a:gd name="T7" fmla="*/ 101 h 101"/>
                  <a:gd name="T8" fmla="*/ 50 w 866"/>
                  <a:gd name="T9" fmla="*/ 101 h 101"/>
                  <a:gd name="T10" fmla="*/ 0 w 866"/>
                  <a:gd name="T11" fmla="*/ 50 h 101"/>
                  <a:gd name="T12" fmla="*/ 50 w 866"/>
                  <a:gd name="T1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6" h="101">
                    <a:moveTo>
                      <a:pt x="50" y="0"/>
                    </a:moveTo>
                    <a:lnTo>
                      <a:pt x="816" y="0"/>
                    </a:lnTo>
                    <a:cubicBezTo>
                      <a:pt x="844" y="0"/>
                      <a:pt x="866" y="22"/>
                      <a:pt x="866" y="50"/>
                    </a:cubicBezTo>
                    <a:cubicBezTo>
                      <a:pt x="866" y="78"/>
                      <a:pt x="844" y="101"/>
                      <a:pt x="816" y="101"/>
                    </a:cubicBezTo>
                    <a:lnTo>
                      <a:pt x="50" y="101"/>
                    </a:lnTo>
                    <a:cubicBezTo>
                      <a:pt x="22" y="101"/>
                      <a:pt x="0" y="78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7" name="Display">
                <a:extLst>
                  <a:ext uri="{FF2B5EF4-FFF2-40B4-BE49-F238E27FC236}">
                    <a16:creationId xmlns:a16="http://schemas.microsoft.com/office/drawing/2014/main" id="{EFB83CF9-B1A7-55E5-407A-0520E44BA46E}"/>
                  </a:ext>
                </a:extLst>
              </p:cNvPr>
              <p:cNvSpPr/>
              <p:nvPr/>
            </p:nvSpPr>
            <p:spPr>
              <a:xfrm>
                <a:off x="9262549" y="1643046"/>
                <a:ext cx="2286000" cy="4064000"/>
              </a:xfrm>
              <a:prstGeom prst="rect">
                <a:avLst/>
              </a:prstGeom>
              <a:grpFill/>
              <a:ln w="6350">
                <a:solidFill>
                  <a:srgbClr val="8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1CD76CE-7D7C-0BC0-B4D5-BE68B212D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30074" y="1699196"/>
              <a:ext cx="2140466" cy="37380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1AB487D1-2A2B-3A51-8420-2B931E415E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28731"/>
              </p:ext>
            </p:extLst>
          </p:nvPr>
        </p:nvGraphicFramePr>
        <p:xfrm>
          <a:off x="2516671" y="1385400"/>
          <a:ext cx="6057752" cy="3199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2" name="Group 21">
            <a:extLst>
              <a:ext uri="{FF2B5EF4-FFF2-40B4-BE49-F238E27FC236}">
                <a16:creationId xmlns:a16="http://schemas.microsoft.com/office/drawing/2014/main" id="{113618CE-9ECE-FC1F-700A-7C294ED4963A}"/>
              </a:ext>
            </a:extLst>
          </p:cNvPr>
          <p:cNvGrpSpPr/>
          <p:nvPr/>
        </p:nvGrpSpPr>
        <p:grpSpPr>
          <a:xfrm>
            <a:off x="7776839" y="1280483"/>
            <a:ext cx="3908784" cy="2431584"/>
            <a:chOff x="5053955" y="1362173"/>
            <a:chExt cx="3816385" cy="255691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05728CF0-7B62-1BA8-EFF7-6BE1811AB981}"/>
                </a:ext>
              </a:extLst>
            </p:cNvPr>
            <p:cNvGrpSpPr/>
            <p:nvPr/>
          </p:nvGrpSpPr>
          <p:grpSpPr>
            <a:xfrm>
              <a:off x="5053955" y="1923256"/>
              <a:ext cx="3816385" cy="1995831"/>
              <a:chOff x="1838740" y="1111855"/>
              <a:chExt cx="12081893" cy="4634289"/>
            </a:xfrm>
          </p:grpSpPr>
          <p:pic>
            <p:nvPicPr>
              <p:cNvPr id="19" name="Picture 18" descr="New Macbook Silver.png">
                <a:extLst>
                  <a:ext uri="{FF2B5EF4-FFF2-40B4-BE49-F238E27FC236}">
                    <a16:creationId xmlns:a16="http://schemas.microsoft.com/office/drawing/2014/main" id="{986FDCA0-FF22-AA3E-531C-8A7F879814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38740" y="1111855"/>
                <a:ext cx="12081893" cy="4634289"/>
              </a:xfrm>
              <a:prstGeom prst="rect">
                <a:avLst/>
              </a:prstGeom>
            </p:spPr>
          </p:pic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184F4EF2-6892-AAA7-88DF-B6597336D2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220041" y="1502304"/>
                <a:ext cx="9244511" cy="3760789"/>
              </a:xfrm>
              <a:prstGeom prst="rect">
                <a:avLst/>
              </a:prstGeom>
            </p:spPr>
          </p:pic>
        </p:grp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AE1D296-3571-A36E-8D91-2B38804E27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0919" t="10898" r="3619" b="13347"/>
            <a:stretch/>
          </p:blipFill>
          <p:spPr>
            <a:xfrm>
              <a:off x="5770575" y="1362173"/>
              <a:ext cx="1779627" cy="1116598"/>
            </a:xfrm>
            <a:prstGeom prst="rect">
              <a:avLst/>
            </a:prstGeom>
          </p:spPr>
        </p:pic>
        <p:pic>
          <p:nvPicPr>
            <p:cNvPr id="14" name="Picture 13" descr="Chart, bar chart&#10;&#10;Description automatically generated">
              <a:extLst>
                <a:ext uri="{FF2B5EF4-FFF2-40B4-BE49-F238E27FC236}">
                  <a16:creationId xmlns:a16="http://schemas.microsoft.com/office/drawing/2014/main" id="{E939943B-C4FE-6031-DE70-25B55F338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722020" y="2348080"/>
              <a:ext cx="1623600" cy="912787"/>
            </a:xfrm>
            <a:prstGeom prst="rect">
              <a:avLst/>
            </a:prstGeom>
          </p:spPr>
        </p:pic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98ACD091-8348-344A-F19D-C109453F209D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3274" t="15806" r="12777" b="15739"/>
          <a:stretch/>
        </p:blipFill>
        <p:spPr>
          <a:xfrm>
            <a:off x="7776839" y="3773961"/>
            <a:ext cx="3908784" cy="198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08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007F8AE7-0ECF-85A2-27B6-01DB79559C9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274638"/>
            <a:ext cx="10972800" cy="1143000"/>
          </a:xfr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chemeClr val="bg1">
                    <a:lumMod val="95000"/>
                  </a:schemeClr>
                </a:solidFill>
              </a:rPr>
              <a:t>USE FOR THE CLI SUPPORT PLATFORM </a:t>
            </a:r>
            <a:endParaRPr lang="en-ZA" sz="32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A962131-33BD-ED8C-C191-7A42BE5D20A8}"/>
              </a:ext>
            </a:extLst>
          </p:cNvPr>
          <p:cNvSpPr txBox="1">
            <a:spLocks/>
          </p:cNvSpPr>
          <p:nvPr/>
        </p:nvSpPr>
        <p:spPr>
          <a:xfrm>
            <a:off x="0" y="1384917"/>
            <a:ext cx="4962617" cy="4294196"/>
          </a:xfrm>
          <a:effectLst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Currently: </a:t>
            </a:r>
            <a:r>
              <a:rPr lang="en-US" b="1" dirty="0"/>
              <a:t>Full RTCQI and CLI national </a:t>
            </a:r>
            <a:r>
              <a:rPr lang="en-US" b="1" dirty="0" err="1"/>
              <a:t>programmes</a:t>
            </a:r>
            <a:endParaRPr lang="en-US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Future: Platform can enhance the rollout of </a:t>
            </a:r>
            <a:r>
              <a:rPr lang="en-US" b="1" dirty="0"/>
              <a:t>any DOH mandated QA or HSS initiative</a:t>
            </a:r>
            <a:r>
              <a:rPr lang="en-US" sz="2800" b="1" i="1" dirty="0"/>
              <a:t>	</a:t>
            </a: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  <a:p>
            <a:pPr>
              <a:spcBef>
                <a:spcPts val="0"/>
              </a:spcBef>
            </a:pPr>
            <a:endParaRPr lang="en-US" sz="2800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37AB10-9145-321F-1486-69124E9A7120}"/>
              </a:ext>
            </a:extLst>
          </p:cNvPr>
          <p:cNvSpPr/>
          <p:nvPr/>
        </p:nvSpPr>
        <p:spPr>
          <a:xfrm>
            <a:off x="6320901" y="1178887"/>
            <a:ext cx="2130642" cy="44446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ZA" b="1" dirty="0"/>
              <a:t>USED B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8775E72-67FB-556C-6B83-C8C4F1D2FC74}"/>
              </a:ext>
            </a:extLst>
          </p:cNvPr>
          <p:cNvSpPr/>
          <p:nvPr/>
        </p:nvSpPr>
        <p:spPr>
          <a:xfrm>
            <a:off x="6196914" y="1757779"/>
            <a:ext cx="2580084" cy="3921334"/>
          </a:xfrm>
          <a:prstGeom prst="rect">
            <a:avLst/>
          </a:prstGeom>
          <a:solidFill>
            <a:srgbClr val="06661B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b="1" dirty="0">
                <a:solidFill>
                  <a:schemeClr val="bg1"/>
                </a:solidFill>
              </a:rPr>
              <a:t>NDOH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ANO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AURU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BROADRE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H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MAT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RIGHT TO C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SA PART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TB HIV C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WRH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000" dirty="0">
                <a:solidFill>
                  <a:schemeClr val="bg1"/>
                </a:solidFill>
              </a:rPr>
              <a:t>DCS</a:t>
            </a:r>
          </a:p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A6F3BF-6C58-5C9F-42EE-55F427613D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4709" y="2099975"/>
            <a:ext cx="1719221" cy="2231329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9935603-4D2D-49E6-AAA6-D83A18964167}"/>
              </a:ext>
            </a:extLst>
          </p:cNvPr>
          <p:cNvSpPr/>
          <p:nvPr/>
        </p:nvSpPr>
        <p:spPr>
          <a:xfrm>
            <a:off x="9025657" y="2231227"/>
            <a:ext cx="1878663" cy="1776073"/>
          </a:xfrm>
          <a:prstGeom prst="ellips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Open Sans Regular" charset="0"/>
              </a:rPr>
              <a:t>Users DOH: 600+</a:t>
            </a:r>
          </a:p>
          <a:p>
            <a:pPr algn="ctr"/>
            <a:r>
              <a:rPr lang="en-US" sz="1400" b="1" dirty="0">
                <a:solidFill>
                  <a:schemeClr val="tx1"/>
                </a:solidFill>
                <a:latin typeface="Open Sans Regular" charset="0"/>
              </a:rPr>
              <a:t>Users DSPs: 600+</a:t>
            </a:r>
            <a:br>
              <a:rPr lang="en-US" sz="1600" b="1" dirty="0">
                <a:solidFill>
                  <a:schemeClr val="tx1"/>
                </a:solidFill>
                <a:latin typeface="Open Sans Regular" charset="0"/>
              </a:rPr>
            </a:br>
            <a:endParaRPr lang="en-US" sz="1600" b="1" dirty="0">
              <a:solidFill>
                <a:schemeClr val="tx1"/>
              </a:solidFill>
              <a:latin typeface="Open Sans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922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CC2B91-D4D9-D3A1-4C99-70D0F215B3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7538720" cy="1310641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en-US" sz="4400" dirty="0">
                <a:solidFill>
                  <a:schemeClr val="bg1">
                    <a:lumMod val="95000"/>
                  </a:schemeClr>
                </a:solidFill>
              </a:rPr>
              <a:t>CLI SUPPORT - USER JOURNEY</a:t>
            </a:r>
            <a:br>
              <a:rPr lang="en-ZA" sz="4400" dirty="0">
                <a:solidFill>
                  <a:schemeClr val="bg1">
                    <a:lumMod val="95000"/>
                  </a:schemeClr>
                </a:solidFill>
              </a:rPr>
            </a:br>
            <a:endParaRPr lang="en-DK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27648A8-1103-5C96-6416-95C9EDB3E8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0297741"/>
              </p:ext>
            </p:extLst>
          </p:nvPr>
        </p:nvGraphicFramePr>
        <p:xfrm>
          <a:off x="825623" y="1376039"/>
          <a:ext cx="9945277" cy="4537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BF4E39A8-11FB-C027-EF69-12C3C790B900}"/>
              </a:ext>
            </a:extLst>
          </p:cNvPr>
          <p:cNvGrpSpPr/>
          <p:nvPr/>
        </p:nvGrpSpPr>
        <p:grpSpPr>
          <a:xfrm>
            <a:off x="6758598" y="1037860"/>
            <a:ext cx="894935" cy="1098590"/>
            <a:chOff x="8616928" y="1317715"/>
            <a:chExt cx="2344986" cy="4469462"/>
          </a:xfrm>
        </p:grpSpPr>
        <p:grpSp>
          <p:nvGrpSpPr>
            <p:cNvPr id="7" name="Smartphone">
              <a:extLst>
                <a:ext uri="{FF2B5EF4-FFF2-40B4-BE49-F238E27FC236}">
                  <a16:creationId xmlns:a16="http://schemas.microsoft.com/office/drawing/2014/main" id="{06DB066B-F7EF-5A9D-8753-947E687EEA5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16928" y="1317715"/>
              <a:ext cx="2344986" cy="4469462"/>
              <a:chOff x="9165945" y="1228296"/>
              <a:chExt cx="2479208" cy="4859248"/>
            </a:xfrm>
            <a:solidFill>
              <a:schemeClr val="bg1">
                <a:lumMod val="95000"/>
              </a:schemeClr>
            </a:solidFill>
          </p:grpSpPr>
          <p:sp>
            <p:nvSpPr>
              <p:cNvPr id="9" name="Case">
                <a:extLst>
                  <a:ext uri="{FF2B5EF4-FFF2-40B4-BE49-F238E27FC236}">
                    <a16:creationId xmlns:a16="http://schemas.microsoft.com/office/drawing/2014/main" id="{0E4A989C-3F40-5529-7D82-64E73073F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5945" y="1228296"/>
                <a:ext cx="2479208" cy="4859248"/>
              </a:xfrm>
              <a:custGeom>
                <a:avLst/>
                <a:gdLst>
                  <a:gd name="T0" fmla="*/ 403 w 4052"/>
                  <a:gd name="T1" fmla="*/ 0 h 7922"/>
                  <a:gd name="T2" fmla="*/ 3649 w 4052"/>
                  <a:gd name="T3" fmla="*/ 0 h 7922"/>
                  <a:gd name="T4" fmla="*/ 4052 w 4052"/>
                  <a:gd name="T5" fmla="*/ 403 h 7922"/>
                  <a:gd name="T6" fmla="*/ 4052 w 4052"/>
                  <a:gd name="T7" fmla="*/ 7519 h 7922"/>
                  <a:gd name="T8" fmla="*/ 3649 w 4052"/>
                  <a:gd name="T9" fmla="*/ 7922 h 7922"/>
                  <a:gd name="T10" fmla="*/ 403 w 4052"/>
                  <a:gd name="T11" fmla="*/ 7922 h 7922"/>
                  <a:gd name="T12" fmla="*/ 0 w 4052"/>
                  <a:gd name="T13" fmla="*/ 7519 h 7922"/>
                  <a:gd name="T14" fmla="*/ 0 w 4052"/>
                  <a:gd name="T15" fmla="*/ 403 h 7922"/>
                  <a:gd name="T16" fmla="*/ 403 w 4052"/>
                  <a:gd name="T17" fmla="*/ 0 h 7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52" h="7922">
                    <a:moveTo>
                      <a:pt x="403" y="0"/>
                    </a:moveTo>
                    <a:lnTo>
                      <a:pt x="3649" y="0"/>
                    </a:lnTo>
                    <a:cubicBezTo>
                      <a:pt x="3872" y="0"/>
                      <a:pt x="4052" y="179"/>
                      <a:pt x="4052" y="403"/>
                    </a:cubicBezTo>
                    <a:lnTo>
                      <a:pt x="4052" y="7519"/>
                    </a:lnTo>
                    <a:cubicBezTo>
                      <a:pt x="4052" y="7742"/>
                      <a:pt x="3872" y="7922"/>
                      <a:pt x="3649" y="7922"/>
                    </a:cubicBezTo>
                    <a:lnTo>
                      <a:pt x="403" y="7922"/>
                    </a:lnTo>
                    <a:cubicBezTo>
                      <a:pt x="180" y="7922"/>
                      <a:pt x="0" y="7742"/>
                      <a:pt x="0" y="7519"/>
                    </a:cubicBezTo>
                    <a:lnTo>
                      <a:pt x="0" y="403"/>
                    </a:lnTo>
                    <a:cubicBezTo>
                      <a:pt x="0" y="179"/>
                      <a:pt x="180" y="0"/>
                      <a:pt x="403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0" name="Button">
                <a:extLst>
                  <a:ext uri="{FF2B5EF4-FFF2-40B4-BE49-F238E27FC236}">
                    <a16:creationId xmlns:a16="http://schemas.microsoft.com/office/drawing/2014/main" id="{324E6899-F97A-49FD-2B6F-2FD870719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1072" y="5811732"/>
                <a:ext cx="488955" cy="161837"/>
              </a:xfrm>
              <a:custGeom>
                <a:avLst/>
                <a:gdLst>
                  <a:gd name="T0" fmla="*/ 131 w 796"/>
                  <a:gd name="T1" fmla="*/ 0 h 262"/>
                  <a:gd name="T2" fmla="*/ 665 w 796"/>
                  <a:gd name="T3" fmla="*/ 0 h 262"/>
                  <a:gd name="T4" fmla="*/ 796 w 796"/>
                  <a:gd name="T5" fmla="*/ 131 h 262"/>
                  <a:gd name="T6" fmla="*/ 665 w 796"/>
                  <a:gd name="T7" fmla="*/ 262 h 262"/>
                  <a:gd name="T8" fmla="*/ 131 w 796"/>
                  <a:gd name="T9" fmla="*/ 262 h 262"/>
                  <a:gd name="T10" fmla="*/ 0 w 796"/>
                  <a:gd name="T11" fmla="*/ 131 h 262"/>
                  <a:gd name="T12" fmla="*/ 131 w 796"/>
                  <a:gd name="T1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6" h="262">
                    <a:moveTo>
                      <a:pt x="131" y="0"/>
                    </a:moveTo>
                    <a:lnTo>
                      <a:pt x="665" y="0"/>
                    </a:lnTo>
                    <a:cubicBezTo>
                      <a:pt x="738" y="0"/>
                      <a:pt x="796" y="59"/>
                      <a:pt x="796" y="131"/>
                    </a:cubicBezTo>
                    <a:cubicBezTo>
                      <a:pt x="796" y="204"/>
                      <a:pt x="738" y="262"/>
                      <a:pt x="665" y="262"/>
                    </a:cubicBezTo>
                    <a:lnTo>
                      <a:pt x="131" y="262"/>
                    </a:lnTo>
                    <a:cubicBezTo>
                      <a:pt x="58" y="262"/>
                      <a:pt x="0" y="204"/>
                      <a:pt x="0" y="131"/>
                    </a:cubicBezTo>
                    <a:cubicBezTo>
                      <a:pt x="0" y="59"/>
                      <a:pt x="58" y="0"/>
                      <a:pt x="131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" name="Camera">
                <a:extLst>
                  <a:ext uri="{FF2B5EF4-FFF2-40B4-BE49-F238E27FC236}">
                    <a16:creationId xmlns:a16="http://schemas.microsoft.com/office/drawing/2014/main" id="{40EE1F79-BAF8-46F0-7C29-246E8848C9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31952" y="1352256"/>
                <a:ext cx="123960" cy="123960"/>
              </a:xfrm>
              <a:prstGeom prst="ellipse">
                <a:avLst/>
              </a:pr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Speaker">
                <a:extLst>
                  <a:ext uri="{FF2B5EF4-FFF2-40B4-BE49-F238E27FC236}">
                    <a16:creationId xmlns:a16="http://schemas.microsoft.com/office/drawing/2014/main" id="{E209B453-483F-3EB7-616E-786056163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0411" y="1414237"/>
                <a:ext cx="530275" cy="61980"/>
              </a:xfrm>
              <a:custGeom>
                <a:avLst/>
                <a:gdLst>
                  <a:gd name="T0" fmla="*/ 50 w 866"/>
                  <a:gd name="T1" fmla="*/ 0 h 101"/>
                  <a:gd name="T2" fmla="*/ 816 w 866"/>
                  <a:gd name="T3" fmla="*/ 0 h 101"/>
                  <a:gd name="T4" fmla="*/ 866 w 866"/>
                  <a:gd name="T5" fmla="*/ 50 h 101"/>
                  <a:gd name="T6" fmla="*/ 816 w 866"/>
                  <a:gd name="T7" fmla="*/ 101 h 101"/>
                  <a:gd name="T8" fmla="*/ 50 w 866"/>
                  <a:gd name="T9" fmla="*/ 101 h 101"/>
                  <a:gd name="T10" fmla="*/ 0 w 866"/>
                  <a:gd name="T11" fmla="*/ 50 h 101"/>
                  <a:gd name="T12" fmla="*/ 50 w 866"/>
                  <a:gd name="T1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6" h="101">
                    <a:moveTo>
                      <a:pt x="50" y="0"/>
                    </a:moveTo>
                    <a:lnTo>
                      <a:pt x="816" y="0"/>
                    </a:lnTo>
                    <a:cubicBezTo>
                      <a:pt x="844" y="0"/>
                      <a:pt x="866" y="22"/>
                      <a:pt x="866" y="50"/>
                    </a:cubicBezTo>
                    <a:cubicBezTo>
                      <a:pt x="866" y="78"/>
                      <a:pt x="844" y="101"/>
                      <a:pt x="816" y="101"/>
                    </a:cubicBezTo>
                    <a:lnTo>
                      <a:pt x="50" y="101"/>
                    </a:lnTo>
                    <a:cubicBezTo>
                      <a:pt x="22" y="101"/>
                      <a:pt x="0" y="78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Display">
                <a:extLst>
                  <a:ext uri="{FF2B5EF4-FFF2-40B4-BE49-F238E27FC236}">
                    <a16:creationId xmlns:a16="http://schemas.microsoft.com/office/drawing/2014/main" id="{7DB2CCB6-C7F5-6D45-D319-6EDEAC0877C9}"/>
                  </a:ext>
                </a:extLst>
              </p:cNvPr>
              <p:cNvSpPr/>
              <p:nvPr/>
            </p:nvSpPr>
            <p:spPr>
              <a:xfrm>
                <a:off x="9262549" y="1643046"/>
                <a:ext cx="2286000" cy="4064000"/>
              </a:xfrm>
              <a:prstGeom prst="rect">
                <a:avLst/>
              </a:prstGeom>
              <a:grpFill/>
              <a:ln w="6350">
                <a:solidFill>
                  <a:srgbClr val="8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443AEDC-7C15-3F5C-B0AA-06695CEBF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30074" y="1699196"/>
              <a:ext cx="2140466" cy="37380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9E3A2E8-5629-9E9D-18E3-5B916A13FF26}"/>
              </a:ext>
            </a:extLst>
          </p:cNvPr>
          <p:cNvGrpSpPr/>
          <p:nvPr/>
        </p:nvGrpSpPr>
        <p:grpSpPr>
          <a:xfrm>
            <a:off x="8331555" y="2467309"/>
            <a:ext cx="1198525" cy="961691"/>
            <a:chOff x="5053955" y="1362173"/>
            <a:chExt cx="3816385" cy="2556914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09DB9BEC-92F4-4715-6DF6-16CA7732DBB3}"/>
                </a:ext>
              </a:extLst>
            </p:cNvPr>
            <p:cNvGrpSpPr/>
            <p:nvPr/>
          </p:nvGrpSpPr>
          <p:grpSpPr>
            <a:xfrm>
              <a:off x="5053955" y="1923256"/>
              <a:ext cx="3816385" cy="1995831"/>
              <a:chOff x="1838740" y="1111855"/>
              <a:chExt cx="12081893" cy="4634289"/>
            </a:xfrm>
          </p:grpSpPr>
          <p:pic>
            <p:nvPicPr>
              <p:cNvPr id="18" name="Picture 17" descr="New Macbook Silver.png">
                <a:extLst>
                  <a:ext uri="{FF2B5EF4-FFF2-40B4-BE49-F238E27FC236}">
                    <a16:creationId xmlns:a16="http://schemas.microsoft.com/office/drawing/2014/main" id="{368D23B8-4088-DBEF-639E-5A60F8C6D6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38740" y="1111855"/>
                <a:ext cx="12081893" cy="4634289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48313FCE-8E19-D23F-D709-E5C2272E02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220041" y="1502304"/>
                <a:ext cx="9244511" cy="3760789"/>
              </a:xfrm>
              <a:prstGeom prst="rect">
                <a:avLst/>
              </a:prstGeom>
            </p:spPr>
          </p:pic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923F663-C538-5207-472A-AD1C5C9ED3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20919" t="10898" r="3619" b="13347"/>
            <a:stretch/>
          </p:blipFill>
          <p:spPr>
            <a:xfrm>
              <a:off x="5770575" y="1362173"/>
              <a:ext cx="1779627" cy="1116598"/>
            </a:xfrm>
            <a:prstGeom prst="rect">
              <a:avLst/>
            </a:prstGeom>
          </p:spPr>
        </p:pic>
        <p:pic>
          <p:nvPicPr>
            <p:cNvPr id="17" name="Picture 16" descr="Chart, bar chart&#10;&#10;Description automatically generated">
              <a:extLst>
                <a:ext uri="{FF2B5EF4-FFF2-40B4-BE49-F238E27FC236}">
                  <a16:creationId xmlns:a16="http://schemas.microsoft.com/office/drawing/2014/main" id="{4F16C6AB-A748-72C8-48DA-3507BE2525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722020" y="2348080"/>
              <a:ext cx="1623600" cy="912787"/>
            </a:xfrm>
            <a:prstGeom prst="rect">
              <a:avLst/>
            </a:prstGeom>
          </p:spPr>
        </p:pic>
      </p:grpSp>
      <p:sp>
        <p:nvSpPr>
          <p:cNvPr id="20" name="Thought Bubble: Cloud 19">
            <a:extLst>
              <a:ext uri="{FF2B5EF4-FFF2-40B4-BE49-F238E27FC236}">
                <a16:creationId xmlns:a16="http://schemas.microsoft.com/office/drawing/2014/main" id="{8BA6486D-D329-D657-D8B5-9497B13B8630}"/>
              </a:ext>
            </a:extLst>
          </p:cNvPr>
          <p:cNvSpPr/>
          <p:nvPr/>
        </p:nvSpPr>
        <p:spPr>
          <a:xfrm>
            <a:off x="7561929" y="4822305"/>
            <a:ext cx="906651" cy="418454"/>
          </a:xfrm>
          <a:prstGeom prst="cloud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34B81A5-0B78-B3B4-4BFB-C4F99B4EF93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57535" y="4743892"/>
            <a:ext cx="932769" cy="993734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FEBBF733-C2EC-F1C8-D79D-940B15EF75BE}"/>
              </a:ext>
            </a:extLst>
          </p:cNvPr>
          <p:cNvGrpSpPr/>
          <p:nvPr/>
        </p:nvGrpSpPr>
        <p:grpSpPr>
          <a:xfrm>
            <a:off x="1775534" y="4509857"/>
            <a:ext cx="1020084" cy="1184898"/>
            <a:chOff x="8616928" y="1317715"/>
            <a:chExt cx="2344986" cy="4469462"/>
          </a:xfrm>
        </p:grpSpPr>
        <p:grpSp>
          <p:nvGrpSpPr>
            <p:cNvPr id="24" name="Smartphone">
              <a:extLst>
                <a:ext uri="{FF2B5EF4-FFF2-40B4-BE49-F238E27FC236}">
                  <a16:creationId xmlns:a16="http://schemas.microsoft.com/office/drawing/2014/main" id="{549B78E3-1F67-5B7F-BA4B-02C4F456A5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16928" y="1317715"/>
              <a:ext cx="2344986" cy="4469462"/>
              <a:chOff x="9165945" y="1228296"/>
              <a:chExt cx="2479208" cy="4859248"/>
            </a:xfrm>
            <a:solidFill>
              <a:schemeClr val="bg1">
                <a:lumMod val="95000"/>
              </a:schemeClr>
            </a:solidFill>
          </p:grpSpPr>
          <p:sp>
            <p:nvSpPr>
              <p:cNvPr id="26" name="Case">
                <a:extLst>
                  <a:ext uri="{FF2B5EF4-FFF2-40B4-BE49-F238E27FC236}">
                    <a16:creationId xmlns:a16="http://schemas.microsoft.com/office/drawing/2014/main" id="{B1B5F377-06BD-8261-94E4-3F8D12A35D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5945" y="1228296"/>
                <a:ext cx="2479208" cy="4859248"/>
              </a:xfrm>
              <a:custGeom>
                <a:avLst/>
                <a:gdLst>
                  <a:gd name="T0" fmla="*/ 403 w 4052"/>
                  <a:gd name="T1" fmla="*/ 0 h 7922"/>
                  <a:gd name="T2" fmla="*/ 3649 w 4052"/>
                  <a:gd name="T3" fmla="*/ 0 h 7922"/>
                  <a:gd name="T4" fmla="*/ 4052 w 4052"/>
                  <a:gd name="T5" fmla="*/ 403 h 7922"/>
                  <a:gd name="T6" fmla="*/ 4052 w 4052"/>
                  <a:gd name="T7" fmla="*/ 7519 h 7922"/>
                  <a:gd name="T8" fmla="*/ 3649 w 4052"/>
                  <a:gd name="T9" fmla="*/ 7922 h 7922"/>
                  <a:gd name="T10" fmla="*/ 403 w 4052"/>
                  <a:gd name="T11" fmla="*/ 7922 h 7922"/>
                  <a:gd name="T12" fmla="*/ 0 w 4052"/>
                  <a:gd name="T13" fmla="*/ 7519 h 7922"/>
                  <a:gd name="T14" fmla="*/ 0 w 4052"/>
                  <a:gd name="T15" fmla="*/ 403 h 7922"/>
                  <a:gd name="T16" fmla="*/ 403 w 4052"/>
                  <a:gd name="T17" fmla="*/ 0 h 7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52" h="7922">
                    <a:moveTo>
                      <a:pt x="403" y="0"/>
                    </a:moveTo>
                    <a:lnTo>
                      <a:pt x="3649" y="0"/>
                    </a:lnTo>
                    <a:cubicBezTo>
                      <a:pt x="3872" y="0"/>
                      <a:pt x="4052" y="179"/>
                      <a:pt x="4052" y="403"/>
                    </a:cubicBezTo>
                    <a:lnTo>
                      <a:pt x="4052" y="7519"/>
                    </a:lnTo>
                    <a:cubicBezTo>
                      <a:pt x="4052" y="7742"/>
                      <a:pt x="3872" y="7922"/>
                      <a:pt x="3649" y="7922"/>
                    </a:cubicBezTo>
                    <a:lnTo>
                      <a:pt x="403" y="7922"/>
                    </a:lnTo>
                    <a:cubicBezTo>
                      <a:pt x="180" y="7922"/>
                      <a:pt x="0" y="7742"/>
                      <a:pt x="0" y="7519"/>
                    </a:cubicBezTo>
                    <a:lnTo>
                      <a:pt x="0" y="403"/>
                    </a:lnTo>
                    <a:cubicBezTo>
                      <a:pt x="0" y="179"/>
                      <a:pt x="180" y="0"/>
                      <a:pt x="403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Button">
                <a:extLst>
                  <a:ext uri="{FF2B5EF4-FFF2-40B4-BE49-F238E27FC236}">
                    <a16:creationId xmlns:a16="http://schemas.microsoft.com/office/drawing/2014/main" id="{88351CC0-049A-737A-BC64-4239ACDFC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1072" y="5811732"/>
                <a:ext cx="488955" cy="161837"/>
              </a:xfrm>
              <a:custGeom>
                <a:avLst/>
                <a:gdLst>
                  <a:gd name="T0" fmla="*/ 131 w 796"/>
                  <a:gd name="T1" fmla="*/ 0 h 262"/>
                  <a:gd name="T2" fmla="*/ 665 w 796"/>
                  <a:gd name="T3" fmla="*/ 0 h 262"/>
                  <a:gd name="T4" fmla="*/ 796 w 796"/>
                  <a:gd name="T5" fmla="*/ 131 h 262"/>
                  <a:gd name="T6" fmla="*/ 665 w 796"/>
                  <a:gd name="T7" fmla="*/ 262 h 262"/>
                  <a:gd name="T8" fmla="*/ 131 w 796"/>
                  <a:gd name="T9" fmla="*/ 262 h 262"/>
                  <a:gd name="T10" fmla="*/ 0 w 796"/>
                  <a:gd name="T11" fmla="*/ 131 h 262"/>
                  <a:gd name="T12" fmla="*/ 131 w 796"/>
                  <a:gd name="T1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6" h="262">
                    <a:moveTo>
                      <a:pt x="131" y="0"/>
                    </a:moveTo>
                    <a:lnTo>
                      <a:pt x="665" y="0"/>
                    </a:lnTo>
                    <a:cubicBezTo>
                      <a:pt x="738" y="0"/>
                      <a:pt x="796" y="59"/>
                      <a:pt x="796" y="131"/>
                    </a:cubicBezTo>
                    <a:cubicBezTo>
                      <a:pt x="796" y="204"/>
                      <a:pt x="738" y="262"/>
                      <a:pt x="665" y="262"/>
                    </a:cubicBezTo>
                    <a:lnTo>
                      <a:pt x="131" y="262"/>
                    </a:lnTo>
                    <a:cubicBezTo>
                      <a:pt x="58" y="262"/>
                      <a:pt x="0" y="204"/>
                      <a:pt x="0" y="131"/>
                    </a:cubicBezTo>
                    <a:cubicBezTo>
                      <a:pt x="0" y="59"/>
                      <a:pt x="58" y="0"/>
                      <a:pt x="131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8" name="Camera">
                <a:extLst>
                  <a:ext uri="{FF2B5EF4-FFF2-40B4-BE49-F238E27FC236}">
                    <a16:creationId xmlns:a16="http://schemas.microsoft.com/office/drawing/2014/main" id="{0E48D4CB-FF60-68B7-2860-A9F5A54538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31952" y="1352256"/>
                <a:ext cx="123960" cy="123960"/>
              </a:xfrm>
              <a:prstGeom prst="ellipse">
                <a:avLst/>
              </a:pr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Speaker">
                <a:extLst>
                  <a:ext uri="{FF2B5EF4-FFF2-40B4-BE49-F238E27FC236}">
                    <a16:creationId xmlns:a16="http://schemas.microsoft.com/office/drawing/2014/main" id="{EEDE57A8-796D-1AAF-8A14-1F451E210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0411" y="1414237"/>
                <a:ext cx="530275" cy="61980"/>
              </a:xfrm>
              <a:custGeom>
                <a:avLst/>
                <a:gdLst>
                  <a:gd name="T0" fmla="*/ 50 w 866"/>
                  <a:gd name="T1" fmla="*/ 0 h 101"/>
                  <a:gd name="T2" fmla="*/ 816 w 866"/>
                  <a:gd name="T3" fmla="*/ 0 h 101"/>
                  <a:gd name="T4" fmla="*/ 866 w 866"/>
                  <a:gd name="T5" fmla="*/ 50 h 101"/>
                  <a:gd name="T6" fmla="*/ 816 w 866"/>
                  <a:gd name="T7" fmla="*/ 101 h 101"/>
                  <a:gd name="T8" fmla="*/ 50 w 866"/>
                  <a:gd name="T9" fmla="*/ 101 h 101"/>
                  <a:gd name="T10" fmla="*/ 0 w 866"/>
                  <a:gd name="T11" fmla="*/ 50 h 101"/>
                  <a:gd name="T12" fmla="*/ 50 w 866"/>
                  <a:gd name="T1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6" h="101">
                    <a:moveTo>
                      <a:pt x="50" y="0"/>
                    </a:moveTo>
                    <a:lnTo>
                      <a:pt x="816" y="0"/>
                    </a:lnTo>
                    <a:cubicBezTo>
                      <a:pt x="844" y="0"/>
                      <a:pt x="866" y="22"/>
                      <a:pt x="866" y="50"/>
                    </a:cubicBezTo>
                    <a:cubicBezTo>
                      <a:pt x="866" y="78"/>
                      <a:pt x="844" y="101"/>
                      <a:pt x="816" y="101"/>
                    </a:cubicBezTo>
                    <a:lnTo>
                      <a:pt x="50" y="101"/>
                    </a:lnTo>
                    <a:cubicBezTo>
                      <a:pt x="22" y="101"/>
                      <a:pt x="0" y="78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30" name="Display">
                <a:extLst>
                  <a:ext uri="{FF2B5EF4-FFF2-40B4-BE49-F238E27FC236}">
                    <a16:creationId xmlns:a16="http://schemas.microsoft.com/office/drawing/2014/main" id="{C7EB1ECD-18C6-0D71-A597-F1A0AD2976BE}"/>
                  </a:ext>
                </a:extLst>
              </p:cNvPr>
              <p:cNvSpPr/>
              <p:nvPr/>
            </p:nvSpPr>
            <p:spPr>
              <a:xfrm>
                <a:off x="9262549" y="1643046"/>
                <a:ext cx="2286000" cy="4064000"/>
              </a:xfrm>
              <a:prstGeom prst="rect">
                <a:avLst/>
              </a:prstGeom>
              <a:grpFill/>
              <a:ln w="6350">
                <a:solidFill>
                  <a:srgbClr val="8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70BDE7D7-8E76-8271-B410-AA23B087D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30074" y="1699196"/>
              <a:ext cx="2140466" cy="37380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672FF0B-BD70-F35E-D6DC-AAA8F19472BF}"/>
              </a:ext>
            </a:extLst>
          </p:cNvPr>
          <p:cNvGrpSpPr/>
          <p:nvPr/>
        </p:nvGrpSpPr>
        <p:grpSpPr>
          <a:xfrm>
            <a:off x="1795937" y="2198434"/>
            <a:ext cx="1503060" cy="811344"/>
            <a:chOff x="5053955" y="1362173"/>
            <a:chExt cx="3816385" cy="2556914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5B44C82-DF01-F166-8238-A14E261ED056}"/>
                </a:ext>
              </a:extLst>
            </p:cNvPr>
            <p:cNvGrpSpPr/>
            <p:nvPr/>
          </p:nvGrpSpPr>
          <p:grpSpPr>
            <a:xfrm>
              <a:off x="5053955" y="1923256"/>
              <a:ext cx="3816385" cy="1995831"/>
              <a:chOff x="1838740" y="1111855"/>
              <a:chExt cx="12081893" cy="4634289"/>
            </a:xfrm>
          </p:grpSpPr>
          <p:pic>
            <p:nvPicPr>
              <p:cNvPr id="35" name="Picture 34" descr="New Macbook Silver.png">
                <a:extLst>
                  <a:ext uri="{FF2B5EF4-FFF2-40B4-BE49-F238E27FC236}">
                    <a16:creationId xmlns:a16="http://schemas.microsoft.com/office/drawing/2014/main" id="{A1A3D3FF-8144-3A80-EA54-2F1EAADB9E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38740" y="1111855"/>
                <a:ext cx="12081893" cy="4634289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E271453C-A735-1363-21D6-9F207802A9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220041" y="1502304"/>
                <a:ext cx="9244511" cy="3760789"/>
              </a:xfrm>
              <a:prstGeom prst="rect">
                <a:avLst/>
              </a:prstGeom>
            </p:spPr>
          </p:pic>
        </p:grp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EEA0731-7942-C936-2B59-2A733E5075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20919" t="10898" r="3619" b="13347"/>
            <a:stretch/>
          </p:blipFill>
          <p:spPr>
            <a:xfrm>
              <a:off x="5770575" y="1362173"/>
              <a:ext cx="1779627" cy="1116598"/>
            </a:xfrm>
            <a:prstGeom prst="rect">
              <a:avLst/>
            </a:prstGeom>
          </p:spPr>
        </p:pic>
        <p:pic>
          <p:nvPicPr>
            <p:cNvPr id="34" name="Picture 33" descr="Chart, bar chart&#10;&#10;Description automatically generated">
              <a:extLst>
                <a:ext uri="{FF2B5EF4-FFF2-40B4-BE49-F238E27FC236}">
                  <a16:creationId xmlns:a16="http://schemas.microsoft.com/office/drawing/2014/main" id="{2C868C70-3FA4-7739-B4B7-BD461FFE5F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722020" y="2348080"/>
              <a:ext cx="1623600" cy="9127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178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4E12187C-091C-9D7C-42FB-8D5DBA387A21}"/>
              </a:ext>
            </a:extLst>
          </p:cNvPr>
          <p:cNvSpPr txBox="1"/>
          <p:nvPr/>
        </p:nvSpPr>
        <p:spPr>
          <a:xfrm>
            <a:off x="663606" y="271596"/>
            <a:ext cx="943918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3200" dirty="0">
                <a:solidFill>
                  <a:schemeClr val="bg1">
                    <a:lumMod val="95000"/>
                  </a:schemeClr>
                </a:solidFill>
              </a:rPr>
              <a:t>STEP 1: DOWNLOAD AND INSTALL CLI SUPPORT APP</a:t>
            </a:r>
            <a:endParaRPr lang="en-ZA" sz="3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29F95F1-7B5E-BD59-8A1B-2825A81B5DFB}"/>
              </a:ext>
            </a:extLst>
          </p:cNvPr>
          <p:cNvSpPr txBox="1"/>
          <p:nvPr/>
        </p:nvSpPr>
        <p:spPr>
          <a:xfrm>
            <a:off x="548196" y="1483977"/>
            <a:ext cx="6103398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285750"/>
            <a:r>
              <a:rPr lang="en-ZA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ownload via link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ZA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nter the link address in your web browser</a:t>
            </a:r>
          </a:p>
          <a:p>
            <a:pPr lvl="2"/>
            <a:r>
              <a:rPr lang="en-ZA" sz="3400" u="sng" dirty="0">
                <a:solidFill>
                  <a:srgbClr val="0563C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clisupport.co.za/Home/Download</a:t>
            </a:r>
            <a:endParaRPr lang="en-ZA" sz="3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457200">
              <a:buFont typeface="Arial" panose="020B0604020202020204" pitchFamily="34" charset="0"/>
              <a:buChar char="•"/>
            </a:pPr>
            <a:r>
              <a:rPr lang="en-ZA" sz="3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stall directly from App Store (In progress)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09B586E4-4760-12A4-676D-5D73A8314D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7754" y="1267185"/>
            <a:ext cx="3542083" cy="4274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065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33A9120-4716-8DA5-8B40-574BCB3212C9}"/>
              </a:ext>
            </a:extLst>
          </p:cNvPr>
          <p:cNvSpPr txBox="1"/>
          <p:nvPr/>
        </p:nvSpPr>
        <p:spPr>
          <a:xfrm>
            <a:off x="497150" y="221942"/>
            <a:ext cx="74378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4000" dirty="0">
                <a:solidFill>
                  <a:schemeClr val="bg1">
                    <a:lumMod val="95000"/>
                  </a:schemeClr>
                </a:solidFill>
              </a:rPr>
              <a:t>STEP 2: APPLICATION  SETUP</a:t>
            </a:r>
            <a:endParaRPr lang="en-ZA" sz="4000" dirty="0"/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0AFE2C0-1CE0-7741-D4D8-E951AD879DD4}"/>
              </a:ext>
            </a:extLst>
          </p:cNvPr>
          <p:cNvSpPr txBox="1">
            <a:spLocks/>
          </p:cNvSpPr>
          <p:nvPr/>
        </p:nvSpPr>
        <p:spPr>
          <a:xfrm>
            <a:off x="0" y="1229515"/>
            <a:ext cx="7315200" cy="2641445"/>
          </a:xfrm>
          <a:effectLst>
            <a:reflection blurRad="6350" stA="52000" endA="300" endPos="35000" dir="5400000" sy="-100000" algn="bl" rotWithShape="0"/>
          </a:effectLst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User details and roles defined before on-boarding</a:t>
            </a:r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User credentials, server settings and app preferences set</a:t>
            </a:r>
            <a:endParaRPr lang="en-US" b="1" dirty="0"/>
          </a:p>
          <a:p>
            <a:pPr marL="457200" indent="-4572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28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5CE964-0B3F-81BD-F6BF-AFCCD5EB3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974" y="3293616"/>
            <a:ext cx="4609756" cy="2348773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69440F95-EEF8-F228-9F27-D4522989E367}"/>
              </a:ext>
            </a:extLst>
          </p:cNvPr>
          <p:cNvGrpSpPr/>
          <p:nvPr/>
        </p:nvGrpSpPr>
        <p:grpSpPr>
          <a:xfrm>
            <a:off x="7559335" y="1111263"/>
            <a:ext cx="2769226" cy="4635474"/>
            <a:chOff x="7260956" y="1335264"/>
            <a:chExt cx="2769226" cy="4935311"/>
          </a:xfrm>
        </p:grpSpPr>
        <p:grpSp>
          <p:nvGrpSpPr>
            <p:cNvPr id="6" name="Smartphone">
              <a:extLst>
                <a:ext uri="{FF2B5EF4-FFF2-40B4-BE49-F238E27FC236}">
                  <a16:creationId xmlns:a16="http://schemas.microsoft.com/office/drawing/2014/main" id="{1B5AF5C8-4C41-E7B8-65BF-3741620219E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60956" y="1335264"/>
              <a:ext cx="2769226" cy="4935311"/>
              <a:chOff x="9165945" y="1228296"/>
              <a:chExt cx="2479208" cy="4859248"/>
            </a:xfrm>
            <a:solidFill>
              <a:schemeClr val="bg1">
                <a:lumMod val="95000"/>
              </a:schemeClr>
            </a:solidFill>
          </p:grpSpPr>
          <p:sp>
            <p:nvSpPr>
              <p:cNvPr id="10" name="Case">
                <a:extLst>
                  <a:ext uri="{FF2B5EF4-FFF2-40B4-BE49-F238E27FC236}">
                    <a16:creationId xmlns:a16="http://schemas.microsoft.com/office/drawing/2014/main" id="{2C04D44B-4F2C-4904-1D42-F7CE718B9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5945" y="1228296"/>
                <a:ext cx="2479208" cy="4859248"/>
              </a:xfrm>
              <a:custGeom>
                <a:avLst/>
                <a:gdLst>
                  <a:gd name="T0" fmla="*/ 403 w 4052"/>
                  <a:gd name="T1" fmla="*/ 0 h 7922"/>
                  <a:gd name="T2" fmla="*/ 3649 w 4052"/>
                  <a:gd name="T3" fmla="*/ 0 h 7922"/>
                  <a:gd name="T4" fmla="*/ 4052 w 4052"/>
                  <a:gd name="T5" fmla="*/ 403 h 7922"/>
                  <a:gd name="T6" fmla="*/ 4052 w 4052"/>
                  <a:gd name="T7" fmla="*/ 7519 h 7922"/>
                  <a:gd name="T8" fmla="*/ 3649 w 4052"/>
                  <a:gd name="T9" fmla="*/ 7922 h 7922"/>
                  <a:gd name="T10" fmla="*/ 403 w 4052"/>
                  <a:gd name="T11" fmla="*/ 7922 h 7922"/>
                  <a:gd name="T12" fmla="*/ 0 w 4052"/>
                  <a:gd name="T13" fmla="*/ 7519 h 7922"/>
                  <a:gd name="T14" fmla="*/ 0 w 4052"/>
                  <a:gd name="T15" fmla="*/ 403 h 7922"/>
                  <a:gd name="T16" fmla="*/ 403 w 4052"/>
                  <a:gd name="T17" fmla="*/ 0 h 7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52" h="7922">
                    <a:moveTo>
                      <a:pt x="403" y="0"/>
                    </a:moveTo>
                    <a:lnTo>
                      <a:pt x="3649" y="0"/>
                    </a:lnTo>
                    <a:cubicBezTo>
                      <a:pt x="3872" y="0"/>
                      <a:pt x="4052" y="179"/>
                      <a:pt x="4052" y="403"/>
                    </a:cubicBezTo>
                    <a:lnTo>
                      <a:pt x="4052" y="7519"/>
                    </a:lnTo>
                    <a:cubicBezTo>
                      <a:pt x="4052" y="7742"/>
                      <a:pt x="3872" y="7922"/>
                      <a:pt x="3649" y="7922"/>
                    </a:cubicBezTo>
                    <a:lnTo>
                      <a:pt x="403" y="7922"/>
                    </a:lnTo>
                    <a:cubicBezTo>
                      <a:pt x="180" y="7922"/>
                      <a:pt x="0" y="7742"/>
                      <a:pt x="0" y="7519"/>
                    </a:cubicBezTo>
                    <a:lnTo>
                      <a:pt x="0" y="403"/>
                    </a:lnTo>
                    <a:cubicBezTo>
                      <a:pt x="0" y="179"/>
                      <a:pt x="180" y="0"/>
                      <a:pt x="403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" name="Button">
                <a:extLst>
                  <a:ext uri="{FF2B5EF4-FFF2-40B4-BE49-F238E27FC236}">
                    <a16:creationId xmlns:a16="http://schemas.microsoft.com/office/drawing/2014/main" id="{D649DE22-02AF-2200-34AF-75F48045B1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1072" y="5811732"/>
                <a:ext cx="488955" cy="161837"/>
              </a:xfrm>
              <a:custGeom>
                <a:avLst/>
                <a:gdLst>
                  <a:gd name="T0" fmla="*/ 131 w 796"/>
                  <a:gd name="T1" fmla="*/ 0 h 262"/>
                  <a:gd name="T2" fmla="*/ 665 w 796"/>
                  <a:gd name="T3" fmla="*/ 0 h 262"/>
                  <a:gd name="T4" fmla="*/ 796 w 796"/>
                  <a:gd name="T5" fmla="*/ 131 h 262"/>
                  <a:gd name="T6" fmla="*/ 665 w 796"/>
                  <a:gd name="T7" fmla="*/ 262 h 262"/>
                  <a:gd name="T8" fmla="*/ 131 w 796"/>
                  <a:gd name="T9" fmla="*/ 262 h 262"/>
                  <a:gd name="T10" fmla="*/ 0 w 796"/>
                  <a:gd name="T11" fmla="*/ 131 h 262"/>
                  <a:gd name="T12" fmla="*/ 131 w 796"/>
                  <a:gd name="T1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6" h="262">
                    <a:moveTo>
                      <a:pt x="131" y="0"/>
                    </a:moveTo>
                    <a:lnTo>
                      <a:pt x="665" y="0"/>
                    </a:lnTo>
                    <a:cubicBezTo>
                      <a:pt x="738" y="0"/>
                      <a:pt x="796" y="59"/>
                      <a:pt x="796" y="131"/>
                    </a:cubicBezTo>
                    <a:cubicBezTo>
                      <a:pt x="796" y="204"/>
                      <a:pt x="738" y="262"/>
                      <a:pt x="665" y="262"/>
                    </a:cubicBezTo>
                    <a:lnTo>
                      <a:pt x="131" y="262"/>
                    </a:lnTo>
                    <a:cubicBezTo>
                      <a:pt x="58" y="262"/>
                      <a:pt x="0" y="204"/>
                      <a:pt x="0" y="131"/>
                    </a:cubicBezTo>
                    <a:cubicBezTo>
                      <a:pt x="0" y="59"/>
                      <a:pt x="58" y="0"/>
                      <a:pt x="131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2" name="Camera">
                <a:extLst>
                  <a:ext uri="{FF2B5EF4-FFF2-40B4-BE49-F238E27FC236}">
                    <a16:creationId xmlns:a16="http://schemas.microsoft.com/office/drawing/2014/main" id="{06262710-406C-E2B1-B924-89275072E4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31952" y="1352256"/>
                <a:ext cx="123960" cy="123960"/>
              </a:xfrm>
              <a:prstGeom prst="ellipse">
                <a:avLst/>
              </a:pr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3" name="Speaker">
                <a:extLst>
                  <a:ext uri="{FF2B5EF4-FFF2-40B4-BE49-F238E27FC236}">
                    <a16:creationId xmlns:a16="http://schemas.microsoft.com/office/drawing/2014/main" id="{1E536C14-D2D5-E5BB-6D15-DF7D926F4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0411" y="1414237"/>
                <a:ext cx="530275" cy="61980"/>
              </a:xfrm>
              <a:custGeom>
                <a:avLst/>
                <a:gdLst>
                  <a:gd name="T0" fmla="*/ 50 w 866"/>
                  <a:gd name="T1" fmla="*/ 0 h 101"/>
                  <a:gd name="T2" fmla="*/ 816 w 866"/>
                  <a:gd name="T3" fmla="*/ 0 h 101"/>
                  <a:gd name="T4" fmla="*/ 866 w 866"/>
                  <a:gd name="T5" fmla="*/ 50 h 101"/>
                  <a:gd name="T6" fmla="*/ 816 w 866"/>
                  <a:gd name="T7" fmla="*/ 101 h 101"/>
                  <a:gd name="T8" fmla="*/ 50 w 866"/>
                  <a:gd name="T9" fmla="*/ 101 h 101"/>
                  <a:gd name="T10" fmla="*/ 0 w 866"/>
                  <a:gd name="T11" fmla="*/ 50 h 101"/>
                  <a:gd name="T12" fmla="*/ 50 w 866"/>
                  <a:gd name="T1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6" h="101">
                    <a:moveTo>
                      <a:pt x="50" y="0"/>
                    </a:moveTo>
                    <a:lnTo>
                      <a:pt x="816" y="0"/>
                    </a:lnTo>
                    <a:cubicBezTo>
                      <a:pt x="844" y="0"/>
                      <a:pt x="866" y="22"/>
                      <a:pt x="866" y="50"/>
                    </a:cubicBezTo>
                    <a:cubicBezTo>
                      <a:pt x="866" y="78"/>
                      <a:pt x="844" y="101"/>
                      <a:pt x="816" y="101"/>
                    </a:cubicBezTo>
                    <a:lnTo>
                      <a:pt x="50" y="101"/>
                    </a:lnTo>
                    <a:cubicBezTo>
                      <a:pt x="22" y="101"/>
                      <a:pt x="0" y="78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4" name="Display">
                <a:extLst>
                  <a:ext uri="{FF2B5EF4-FFF2-40B4-BE49-F238E27FC236}">
                    <a16:creationId xmlns:a16="http://schemas.microsoft.com/office/drawing/2014/main" id="{82BBF631-86C8-A3DD-6666-52087220929F}"/>
                  </a:ext>
                </a:extLst>
              </p:cNvPr>
              <p:cNvSpPr/>
              <p:nvPr/>
            </p:nvSpPr>
            <p:spPr>
              <a:xfrm>
                <a:off x="9262549" y="1643046"/>
                <a:ext cx="2286000" cy="4064000"/>
              </a:xfrm>
              <a:prstGeom prst="rect">
                <a:avLst/>
              </a:prstGeom>
              <a:grpFill/>
              <a:ln w="6350">
                <a:solidFill>
                  <a:srgbClr val="8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52959AB-08A9-3050-37A0-CED6C82E89D2}"/>
                </a:ext>
              </a:extLst>
            </p:cNvPr>
            <p:cNvGrpSpPr/>
            <p:nvPr/>
          </p:nvGrpSpPr>
          <p:grpSpPr>
            <a:xfrm>
              <a:off x="7368861" y="1775916"/>
              <a:ext cx="2553417" cy="4098772"/>
              <a:chOff x="642638" y="2587022"/>
              <a:chExt cx="2357490" cy="3094301"/>
            </a:xfrm>
          </p:grpSpPr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2E38F321-808F-F6E7-E9FD-978DFC941E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42638" y="2587022"/>
                <a:ext cx="2357490" cy="3094301"/>
              </a:xfrm>
              <a:prstGeom prst="rect">
                <a:avLst/>
              </a:prstGeom>
            </p:spPr>
          </p:pic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B497DB2-33CE-7157-12DD-A8E7241BCD70}"/>
                  </a:ext>
                </a:extLst>
              </p:cNvPr>
              <p:cNvSpPr/>
              <p:nvPr/>
            </p:nvSpPr>
            <p:spPr>
              <a:xfrm>
                <a:off x="2201274" y="2919851"/>
                <a:ext cx="715563" cy="427783"/>
              </a:xfrm>
              <a:prstGeom prst="rect">
                <a:avLst/>
              </a:prstGeom>
              <a:solidFill>
                <a:srgbClr val="FAFAFA">
                  <a:alpha val="0"/>
                </a:srgbClr>
              </a:solidFill>
              <a:ln w="38100">
                <a:solidFill>
                  <a:srgbClr val="FFC000"/>
                </a:solidFill>
              </a:ln>
              <a:effectLst>
                <a:reflection blurRad="6350" stA="52000" endA="300" endPos="35000" dir="5400000" sy="-100000" algn="bl" rotWithShape="0"/>
              </a:effectLst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6703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2C217E3-3F33-2C6A-186E-8E37DB377040}"/>
              </a:ext>
            </a:extLst>
          </p:cNvPr>
          <p:cNvSpPr txBox="1"/>
          <p:nvPr/>
        </p:nvSpPr>
        <p:spPr>
          <a:xfrm>
            <a:off x="619760" y="325120"/>
            <a:ext cx="853186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3200" dirty="0">
                <a:solidFill>
                  <a:schemeClr val="bg1">
                    <a:lumMod val="95000"/>
                  </a:schemeClr>
                </a:solidFill>
              </a:rPr>
              <a:t>STEP 3: USER SUBMISSIONS</a:t>
            </a:r>
            <a:endParaRPr lang="en-ZA" sz="32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BD475DF-BF5C-F03B-FEFA-416F72563C99}"/>
              </a:ext>
            </a:extLst>
          </p:cNvPr>
          <p:cNvGrpSpPr/>
          <p:nvPr/>
        </p:nvGrpSpPr>
        <p:grpSpPr>
          <a:xfrm>
            <a:off x="516242" y="1817632"/>
            <a:ext cx="1883607" cy="3565056"/>
            <a:chOff x="8616928" y="1317715"/>
            <a:chExt cx="2344986" cy="4469462"/>
          </a:xfrm>
        </p:grpSpPr>
        <p:grpSp>
          <p:nvGrpSpPr>
            <p:cNvPr id="9" name="Smartphone">
              <a:extLst>
                <a:ext uri="{FF2B5EF4-FFF2-40B4-BE49-F238E27FC236}">
                  <a16:creationId xmlns:a16="http://schemas.microsoft.com/office/drawing/2014/main" id="{68B4E603-27DD-B196-DC8D-A02E0759E0D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616928" y="1317715"/>
              <a:ext cx="2344986" cy="4469462"/>
              <a:chOff x="9165945" y="1228296"/>
              <a:chExt cx="2479208" cy="4859248"/>
            </a:xfrm>
            <a:solidFill>
              <a:schemeClr val="bg1">
                <a:lumMod val="95000"/>
              </a:schemeClr>
            </a:solidFill>
          </p:grpSpPr>
          <p:sp>
            <p:nvSpPr>
              <p:cNvPr id="16" name="Case">
                <a:extLst>
                  <a:ext uri="{FF2B5EF4-FFF2-40B4-BE49-F238E27FC236}">
                    <a16:creationId xmlns:a16="http://schemas.microsoft.com/office/drawing/2014/main" id="{7BF59FC1-23F6-1919-3E9E-EEE796847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65945" y="1228296"/>
                <a:ext cx="2479208" cy="4859248"/>
              </a:xfrm>
              <a:custGeom>
                <a:avLst/>
                <a:gdLst>
                  <a:gd name="T0" fmla="*/ 403 w 4052"/>
                  <a:gd name="T1" fmla="*/ 0 h 7922"/>
                  <a:gd name="T2" fmla="*/ 3649 w 4052"/>
                  <a:gd name="T3" fmla="*/ 0 h 7922"/>
                  <a:gd name="T4" fmla="*/ 4052 w 4052"/>
                  <a:gd name="T5" fmla="*/ 403 h 7922"/>
                  <a:gd name="T6" fmla="*/ 4052 w 4052"/>
                  <a:gd name="T7" fmla="*/ 7519 h 7922"/>
                  <a:gd name="T8" fmla="*/ 3649 w 4052"/>
                  <a:gd name="T9" fmla="*/ 7922 h 7922"/>
                  <a:gd name="T10" fmla="*/ 403 w 4052"/>
                  <a:gd name="T11" fmla="*/ 7922 h 7922"/>
                  <a:gd name="T12" fmla="*/ 0 w 4052"/>
                  <a:gd name="T13" fmla="*/ 7519 h 7922"/>
                  <a:gd name="T14" fmla="*/ 0 w 4052"/>
                  <a:gd name="T15" fmla="*/ 403 h 7922"/>
                  <a:gd name="T16" fmla="*/ 403 w 4052"/>
                  <a:gd name="T17" fmla="*/ 0 h 79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52" h="7922">
                    <a:moveTo>
                      <a:pt x="403" y="0"/>
                    </a:moveTo>
                    <a:lnTo>
                      <a:pt x="3649" y="0"/>
                    </a:lnTo>
                    <a:cubicBezTo>
                      <a:pt x="3872" y="0"/>
                      <a:pt x="4052" y="179"/>
                      <a:pt x="4052" y="403"/>
                    </a:cubicBezTo>
                    <a:lnTo>
                      <a:pt x="4052" y="7519"/>
                    </a:lnTo>
                    <a:cubicBezTo>
                      <a:pt x="4052" y="7742"/>
                      <a:pt x="3872" y="7922"/>
                      <a:pt x="3649" y="7922"/>
                    </a:cubicBezTo>
                    <a:lnTo>
                      <a:pt x="403" y="7922"/>
                    </a:lnTo>
                    <a:cubicBezTo>
                      <a:pt x="180" y="7922"/>
                      <a:pt x="0" y="7742"/>
                      <a:pt x="0" y="7519"/>
                    </a:cubicBezTo>
                    <a:lnTo>
                      <a:pt x="0" y="403"/>
                    </a:lnTo>
                    <a:cubicBezTo>
                      <a:pt x="0" y="179"/>
                      <a:pt x="180" y="0"/>
                      <a:pt x="403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Button">
                <a:extLst>
                  <a:ext uri="{FF2B5EF4-FFF2-40B4-BE49-F238E27FC236}">
                    <a16:creationId xmlns:a16="http://schemas.microsoft.com/office/drawing/2014/main" id="{DF5C54C3-A0DF-D5FF-0DFF-D2F1873ED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1072" y="5811732"/>
                <a:ext cx="488955" cy="161837"/>
              </a:xfrm>
              <a:custGeom>
                <a:avLst/>
                <a:gdLst>
                  <a:gd name="T0" fmla="*/ 131 w 796"/>
                  <a:gd name="T1" fmla="*/ 0 h 262"/>
                  <a:gd name="T2" fmla="*/ 665 w 796"/>
                  <a:gd name="T3" fmla="*/ 0 h 262"/>
                  <a:gd name="T4" fmla="*/ 796 w 796"/>
                  <a:gd name="T5" fmla="*/ 131 h 262"/>
                  <a:gd name="T6" fmla="*/ 665 w 796"/>
                  <a:gd name="T7" fmla="*/ 262 h 262"/>
                  <a:gd name="T8" fmla="*/ 131 w 796"/>
                  <a:gd name="T9" fmla="*/ 262 h 262"/>
                  <a:gd name="T10" fmla="*/ 0 w 796"/>
                  <a:gd name="T11" fmla="*/ 131 h 262"/>
                  <a:gd name="T12" fmla="*/ 131 w 796"/>
                  <a:gd name="T13" fmla="*/ 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6" h="262">
                    <a:moveTo>
                      <a:pt x="131" y="0"/>
                    </a:moveTo>
                    <a:lnTo>
                      <a:pt x="665" y="0"/>
                    </a:lnTo>
                    <a:cubicBezTo>
                      <a:pt x="738" y="0"/>
                      <a:pt x="796" y="59"/>
                      <a:pt x="796" y="131"/>
                    </a:cubicBezTo>
                    <a:cubicBezTo>
                      <a:pt x="796" y="204"/>
                      <a:pt x="738" y="262"/>
                      <a:pt x="665" y="262"/>
                    </a:cubicBezTo>
                    <a:lnTo>
                      <a:pt x="131" y="262"/>
                    </a:lnTo>
                    <a:cubicBezTo>
                      <a:pt x="58" y="262"/>
                      <a:pt x="0" y="204"/>
                      <a:pt x="0" y="131"/>
                    </a:cubicBezTo>
                    <a:cubicBezTo>
                      <a:pt x="0" y="59"/>
                      <a:pt x="58" y="0"/>
                      <a:pt x="131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2" name="Camera">
                <a:extLst>
                  <a:ext uri="{FF2B5EF4-FFF2-40B4-BE49-F238E27FC236}">
                    <a16:creationId xmlns:a16="http://schemas.microsoft.com/office/drawing/2014/main" id="{60D859DE-CEC8-701D-CB4F-333621C8CB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231952" y="1352256"/>
                <a:ext cx="123960" cy="123960"/>
              </a:xfrm>
              <a:prstGeom prst="ellipse">
                <a:avLst/>
              </a:pr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7" name="Speaker">
                <a:extLst>
                  <a:ext uri="{FF2B5EF4-FFF2-40B4-BE49-F238E27FC236}">
                    <a16:creationId xmlns:a16="http://schemas.microsoft.com/office/drawing/2014/main" id="{2511CADA-B199-2337-BDA7-3AC1C0C2C2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40411" y="1414237"/>
                <a:ext cx="530275" cy="61980"/>
              </a:xfrm>
              <a:custGeom>
                <a:avLst/>
                <a:gdLst>
                  <a:gd name="T0" fmla="*/ 50 w 866"/>
                  <a:gd name="T1" fmla="*/ 0 h 101"/>
                  <a:gd name="T2" fmla="*/ 816 w 866"/>
                  <a:gd name="T3" fmla="*/ 0 h 101"/>
                  <a:gd name="T4" fmla="*/ 866 w 866"/>
                  <a:gd name="T5" fmla="*/ 50 h 101"/>
                  <a:gd name="T6" fmla="*/ 816 w 866"/>
                  <a:gd name="T7" fmla="*/ 101 h 101"/>
                  <a:gd name="T8" fmla="*/ 50 w 866"/>
                  <a:gd name="T9" fmla="*/ 101 h 101"/>
                  <a:gd name="T10" fmla="*/ 0 w 866"/>
                  <a:gd name="T11" fmla="*/ 50 h 101"/>
                  <a:gd name="T12" fmla="*/ 50 w 866"/>
                  <a:gd name="T1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6" h="101">
                    <a:moveTo>
                      <a:pt x="50" y="0"/>
                    </a:moveTo>
                    <a:lnTo>
                      <a:pt x="816" y="0"/>
                    </a:lnTo>
                    <a:cubicBezTo>
                      <a:pt x="844" y="0"/>
                      <a:pt x="866" y="22"/>
                      <a:pt x="866" y="50"/>
                    </a:cubicBezTo>
                    <a:cubicBezTo>
                      <a:pt x="866" y="78"/>
                      <a:pt x="844" y="101"/>
                      <a:pt x="816" y="101"/>
                    </a:cubicBezTo>
                    <a:lnTo>
                      <a:pt x="50" y="101"/>
                    </a:lnTo>
                    <a:cubicBezTo>
                      <a:pt x="22" y="101"/>
                      <a:pt x="0" y="78"/>
                      <a:pt x="0" y="50"/>
                    </a:cubicBezTo>
                    <a:cubicBezTo>
                      <a:pt x="0" y="22"/>
                      <a:pt x="22" y="0"/>
                      <a:pt x="50" y="0"/>
                    </a:cubicBezTo>
                    <a:close/>
                  </a:path>
                </a:pathLst>
              </a:custGeom>
              <a:grpFill/>
              <a:ln w="6350" cap="sq">
                <a:solidFill>
                  <a:srgbClr val="80808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9" name="Display">
                <a:extLst>
                  <a:ext uri="{FF2B5EF4-FFF2-40B4-BE49-F238E27FC236}">
                    <a16:creationId xmlns:a16="http://schemas.microsoft.com/office/drawing/2014/main" id="{AAB72AE7-F0E5-9190-97FA-414CB7CD10BC}"/>
                  </a:ext>
                </a:extLst>
              </p:cNvPr>
              <p:cNvSpPr/>
              <p:nvPr/>
            </p:nvSpPr>
            <p:spPr>
              <a:xfrm>
                <a:off x="9262549" y="1643046"/>
                <a:ext cx="2286000" cy="4064000"/>
              </a:xfrm>
              <a:prstGeom prst="rect">
                <a:avLst/>
              </a:prstGeom>
              <a:grpFill/>
              <a:ln w="6350">
                <a:solidFill>
                  <a:srgbClr val="80808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900" dirty="0">
                  <a:solidFill>
                    <a:srgbClr val="5F5F5F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4EA0F91-F3B7-BC52-C749-F357978D5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30074" y="1699196"/>
              <a:ext cx="2140466" cy="373800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4A10A53-00BC-A1B2-375F-0A4F5729AC35}"/>
              </a:ext>
            </a:extLst>
          </p:cNvPr>
          <p:cNvSpPr/>
          <p:nvPr/>
        </p:nvSpPr>
        <p:spPr>
          <a:xfrm>
            <a:off x="2401255" y="3308341"/>
            <a:ext cx="1602137" cy="268823"/>
          </a:xfrm>
          <a:prstGeom prst="rect">
            <a:avLst/>
          </a:prstGeom>
          <a:solidFill>
            <a:srgbClr val="FAFAFA">
              <a:alpha val="0"/>
            </a:srgbClr>
          </a:solidFill>
          <a:ln w="38100">
            <a:solidFill>
              <a:srgbClr val="FFC000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230EFB-D19F-4528-7A6C-7766A451B6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15535" y="1270738"/>
            <a:ext cx="6596444" cy="851181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981F4F9A-863E-0F1F-8102-3A322BABE620}"/>
              </a:ext>
            </a:extLst>
          </p:cNvPr>
          <p:cNvGrpSpPr/>
          <p:nvPr/>
        </p:nvGrpSpPr>
        <p:grpSpPr>
          <a:xfrm>
            <a:off x="4051737" y="1863381"/>
            <a:ext cx="1883607" cy="3605127"/>
            <a:chOff x="2903312" y="1135081"/>
            <a:chExt cx="2344986" cy="451969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2C6E77F-9B8B-3FF8-8D32-0EA3C72B916E}"/>
                </a:ext>
              </a:extLst>
            </p:cNvPr>
            <p:cNvGrpSpPr/>
            <p:nvPr/>
          </p:nvGrpSpPr>
          <p:grpSpPr>
            <a:xfrm>
              <a:off x="2903312" y="1135081"/>
              <a:ext cx="2344986" cy="4519699"/>
              <a:chOff x="5004399" y="1182211"/>
              <a:chExt cx="2344986" cy="451969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4513B1AA-2451-98ED-9752-FABB2F7CE474}"/>
                  </a:ext>
                </a:extLst>
              </p:cNvPr>
              <p:cNvGrpSpPr/>
              <p:nvPr/>
            </p:nvGrpSpPr>
            <p:grpSpPr>
              <a:xfrm>
                <a:off x="5004399" y="1182211"/>
                <a:ext cx="2344986" cy="4519699"/>
                <a:chOff x="5126321" y="1381022"/>
                <a:chExt cx="2344986" cy="4859248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48" name="Smartphone">
                  <a:extLst>
                    <a:ext uri="{FF2B5EF4-FFF2-40B4-BE49-F238E27FC236}">
                      <a16:creationId xmlns:a16="http://schemas.microsoft.com/office/drawing/2014/main" id="{2646B170-B824-845B-DC16-949BAFA7E676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126321" y="1381022"/>
                  <a:ext cx="2344986" cy="4859248"/>
                  <a:chOff x="9165945" y="1228296"/>
                  <a:chExt cx="2479208" cy="4859248"/>
                </a:xfrm>
                <a:solidFill>
                  <a:schemeClr val="bg1">
                    <a:lumMod val="95000"/>
                  </a:schemeClr>
                </a:solidFill>
              </p:grpSpPr>
              <p:sp>
                <p:nvSpPr>
                  <p:cNvPr id="50" name="Case">
                    <a:extLst>
                      <a:ext uri="{FF2B5EF4-FFF2-40B4-BE49-F238E27FC236}">
                        <a16:creationId xmlns:a16="http://schemas.microsoft.com/office/drawing/2014/main" id="{270C3DD0-C0CE-E13A-1E82-1106F6B8C13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165945" y="1228296"/>
                    <a:ext cx="2479208" cy="4859248"/>
                  </a:xfrm>
                  <a:custGeom>
                    <a:avLst/>
                    <a:gdLst>
                      <a:gd name="T0" fmla="*/ 403 w 4052"/>
                      <a:gd name="T1" fmla="*/ 0 h 7922"/>
                      <a:gd name="T2" fmla="*/ 3649 w 4052"/>
                      <a:gd name="T3" fmla="*/ 0 h 7922"/>
                      <a:gd name="T4" fmla="*/ 4052 w 4052"/>
                      <a:gd name="T5" fmla="*/ 403 h 7922"/>
                      <a:gd name="T6" fmla="*/ 4052 w 4052"/>
                      <a:gd name="T7" fmla="*/ 7519 h 7922"/>
                      <a:gd name="T8" fmla="*/ 3649 w 4052"/>
                      <a:gd name="T9" fmla="*/ 7922 h 7922"/>
                      <a:gd name="T10" fmla="*/ 403 w 4052"/>
                      <a:gd name="T11" fmla="*/ 7922 h 7922"/>
                      <a:gd name="T12" fmla="*/ 0 w 4052"/>
                      <a:gd name="T13" fmla="*/ 7519 h 7922"/>
                      <a:gd name="T14" fmla="*/ 0 w 4052"/>
                      <a:gd name="T15" fmla="*/ 403 h 7922"/>
                      <a:gd name="T16" fmla="*/ 403 w 4052"/>
                      <a:gd name="T17" fmla="*/ 0 h 79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4052" h="7922">
                        <a:moveTo>
                          <a:pt x="403" y="0"/>
                        </a:moveTo>
                        <a:lnTo>
                          <a:pt x="3649" y="0"/>
                        </a:lnTo>
                        <a:cubicBezTo>
                          <a:pt x="3872" y="0"/>
                          <a:pt x="4052" y="179"/>
                          <a:pt x="4052" y="403"/>
                        </a:cubicBezTo>
                        <a:lnTo>
                          <a:pt x="4052" y="7519"/>
                        </a:lnTo>
                        <a:cubicBezTo>
                          <a:pt x="4052" y="7742"/>
                          <a:pt x="3872" y="7922"/>
                          <a:pt x="3649" y="7922"/>
                        </a:cubicBezTo>
                        <a:lnTo>
                          <a:pt x="403" y="7922"/>
                        </a:lnTo>
                        <a:cubicBezTo>
                          <a:pt x="180" y="7922"/>
                          <a:pt x="0" y="7742"/>
                          <a:pt x="0" y="7519"/>
                        </a:cubicBezTo>
                        <a:lnTo>
                          <a:pt x="0" y="403"/>
                        </a:lnTo>
                        <a:cubicBezTo>
                          <a:pt x="0" y="179"/>
                          <a:pt x="180" y="0"/>
                          <a:pt x="403" y="0"/>
                        </a:cubicBezTo>
                        <a:close/>
                      </a:path>
                    </a:pathLst>
                  </a:custGeom>
                  <a:grpFill/>
                  <a:ln w="6350" cap="sq">
                    <a:solidFill>
                      <a:srgbClr val="80808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srgbClr val="5F5F5F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1" name="Button">
                    <a:extLst>
                      <a:ext uri="{FF2B5EF4-FFF2-40B4-BE49-F238E27FC236}">
                        <a16:creationId xmlns:a16="http://schemas.microsoft.com/office/drawing/2014/main" id="{2EA0B9F2-F93F-134A-6852-4EC5BC17DDC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61072" y="5811732"/>
                    <a:ext cx="488955" cy="161837"/>
                  </a:xfrm>
                  <a:custGeom>
                    <a:avLst/>
                    <a:gdLst>
                      <a:gd name="T0" fmla="*/ 131 w 796"/>
                      <a:gd name="T1" fmla="*/ 0 h 262"/>
                      <a:gd name="T2" fmla="*/ 665 w 796"/>
                      <a:gd name="T3" fmla="*/ 0 h 262"/>
                      <a:gd name="T4" fmla="*/ 796 w 796"/>
                      <a:gd name="T5" fmla="*/ 131 h 262"/>
                      <a:gd name="T6" fmla="*/ 665 w 796"/>
                      <a:gd name="T7" fmla="*/ 262 h 262"/>
                      <a:gd name="T8" fmla="*/ 131 w 796"/>
                      <a:gd name="T9" fmla="*/ 262 h 262"/>
                      <a:gd name="T10" fmla="*/ 0 w 796"/>
                      <a:gd name="T11" fmla="*/ 131 h 262"/>
                      <a:gd name="T12" fmla="*/ 131 w 796"/>
                      <a:gd name="T13" fmla="*/ 0 h 26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796" h="262">
                        <a:moveTo>
                          <a:pt x="131" y="0"/>
                        </a:moveTo>
                        <a:lnTo>
                          <a:pt x="665" y="0"/>
                        </a:lnTo>
                        <a:cubicBezTo>
                          <a:pt x="738" y="0"/>
                          <a:pt x="796" y="59"/>
                          <a:pt x="796" y="131"/>
                        </a:cubicBezTo>
                        <a:cubicBezTo>
                          <a:pt x="796" y="204"/>
                          <a:pt x="738" y="262"/>
                          <a:pt x="665" y="262"/>
                        </a:cubicBezTo>
                        <a:lnTo>
                          <a:pt x="131" y="262"/>
                        </a:lnTo>
                        <a:cubicBezTo>
                          <a:pt x="58" y="262"/>
                          <a:pt x="0" y="204"/>
                          <a:pt x="0" y="131"/>
                        </a:cubicBezTo>
                        <a:cubicBezTo>
                          <a:pt x="0" y="59"/>
                          <a:pt x="58" y="0"/>
                          <a:pt x="131" y="0"/>
                        </a:cubicBezTo>
                        <a:close/>
                      </a:path>
                    </a:pathLst>
                  </a:custGeom>
                  <a:grpFill/>
                  <a:ln w="6350" cap="sq">
                    <a:solidFill>
                      <a:srgbClr val="80808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srgbClr val="5F5F5F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2" name="Camera">
                    <a:extLst>
                      <a:ext uri="{FF2B5EF4-FFF2-40B4-BE49-F238E27FC236}">
                        <a16:creationId xmlns:a16="http://schemas.microsoft.com/office/drawing/2014/main" id="{023D556F-4813-3BC8-4C13-F105AC39052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1231952" y="1352256"/>
                    <a:ext cx="123960" cy="123960"/>
                  </a:xfrm>
                  <a:prstGeom prst="ellipse">
                    <a:avLst/>
                  </a:prstGeom>
                  <a:grpFill/>
                  <a:ln w="6350" cap="sq">
                    <a:solidFill>
                      <a:srgbClr val="80808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srgbClr val="5F5F5F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3" name="Speaker">
                    <a:extLst>
                      <a:ext uri="{FF2B5EF4-FFF2-40B4-BE49-F238E27FC236}">
                        <a16:creationId xmlns:a16="http://schemas.microsoft.com/office/drawing/2014/main" id="{19A2A340-C2A4-6619-A8C3-16E835B2151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140411" y="1414237"/>
                    <a:ext cx="530275" cy="61980"/>
                  </a:xfrm>
                  <a:custGeom>
                    <a:avLst/>
                    <a:gdLst>
                      <a:gd name="T0" fmla="*/ 50 w 866"/>
                      <a:gd name="T1" fmla="*/ 0 h 101"/>
                      <a:gd name="T2" fmla="*/ 816 w 866"/>
                      <a:gd name="T3" fmla="*/ 0 h 101"/>
                      <a:gd name="T4" fmla="*/ 866 w 866"/>
                      <a:gd name="T5" fmla="*/ 50 h 101"/>
                      <a:gd name="T6" fmla="*/ 816 w 866"/>
                      <a:gd name="T7" fmla="*/ 101 h 101"/>
                      <a:gd name="T8" fmla="*/ 50 w 866"/>
                      <a:gd name="T9" fmla="*/ 101 h 101"/>
                      <a:gd name="T10" fmla="*/ 0 w 866"/>
                      <a:gd name="T11" fmla="*/ 50 h 101"/>
                      <a:gd name="T12" fmla="*/ 50 w 866"/>
                      <a:gd name="T13" fmla="*/ 0 h 1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66" h="101">
                        <a:moveTo>
                          <a:pt x="50" y="0"/>
                        </a:moveTo>
                        <a:lnTo>
                          <a:pt x="816" y="0"/>
                        </a:lnTo>
                        <a:cubicBezTo>
                          <a:pt x="844" y="0"/>
                          <a:pt x="866" y="22"/>
                          <a:pt x="866" y="50"/>
                        </a:cubicBezTo>
                        <a:cubicBezTo>
                          <a:pt x="866" y="78"/>
                          <a:pt x="844" y="101"/>
                          <a:pt x="816" y="101"/>
                        </a:cubicBezTo>
                        <a:lnTo>
                          <a:pt x="50" y="101"/>
                        </a:lnTo>
                        <a:cubicBezTo>
                          <a:pt x="22" y="101"/>
                          <a:pt x="0" y="78"/>
                          <a:pt x="0" y="50"/>
                        </a:cubicBezTo>
                        <a:cubicBezTo>
                          <a:pt x="0" y="22"/>
                          <a:pt x="22" y="0"/>
                          <a:pt x="50" y="0"/>
                        </a:cubicBezTo>
                        <a:close/>
                      </a:path>
                    </a:pathLst>
                  </a:custGeom>
                  <a:grpFill/>
                  <a:ln w="6350" cap="sq">
                    <a:solidFill>
                      <a:srgbClr val="808080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>
                      <a:solidFill>
                        <a:srgbClr val="5F5F5F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  <p:sp>
                <p:nvSpPr>
                  <p:cNvPr id="54" name="Display">
                    <a:extLst>
                      <a:ext uri="{FF2B5EF4-FFF2-40B4-BE49-F238E27FC236}">
                        <a16:creationId xmlns:a16="http://schemas.microsoft.com/office/drawing/2014/main" id="{48F6AF5A-AD6A-430B-548B-1F7AF331E464}"/>
                      </a:ext>
                    </a:extLst>
                  </p:cNvPr>
                  <p:cNvSpPr/>
                  <p:nvPr/>
                </p:nvSpPr>
                <p:spPr>
                  <a:xfrm>
                    <a:off x="9262549" y="1643046"/>
                    <a:ext cx="2286000" cy="4064000"/>
                  </a:xfrm>
                  <a:prstGeom prst="rect">
                    <a:avLst/>
                  </a:prstGeom>
                  <a:grpFill/>
                  <a:ln w="6350">
                    <a:solidFill>
                      <a:srgbClr val="80808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en-US"/>
                    </a:defPPr>
                    <a:lvl1pPr marL="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8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ctr"/>
                    <a:endParaRPr lang="en-US" sz="900" dirty="0">
                      <a:solidFill>
                        <a:srgbClr val="5F5F5F"/>
                      </a:solidFill>
                      <a:latin typeface="Segoe UI" panose="020B0502040204020203" pitchFamily="34" charset="0"/>
                      <a:cs typeface="Segoe UI" panose="020B0502040204020203" pitchFamily="34" charset="0"/>
                    </a:endParaRPr>
                  </a:p>
                </p:txBody>
              </p:sp>
            </p:grpSp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6E5B953C-4967-0A0C-B665-287E864174E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>
                <a:xfrm>
                  <a:off x="5217694" y="1795772"/>
                  <a:ext cx="2162239" cy="4046499"/>
                </a:xfrm>
                <a:prstGeom prst="rect">
                  <a:avLst/>
                </a:prstGeom>
                <a:ln>
                  <a:solidFill>
                    <a:schemeClr val="tx1"/>
                  </a:solidFill>
                </a:ln>
              </p:spPr>
            </p:pic>
          </p:grp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AD5961E5-ACCC-0DFB-530D-7B7DA207CC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095769" y="1714486"/>
                <a:ext cx="2162239" cy="3600000"/>
              </a:xfrm>
              <a:prstGeom prst="rect">
                <a:avLst/>
              </a:prstGeom>
            </p:spPr>
          </p:pic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9DA4C1A-2130-E080-E30F-C08EC10AC7DF}"/>
                </a:ext>
              </a:extLst>
            </p:cNvPr>
            <p:cNvSpPr/>
            <p:nvPr/>
          </p:nvSpPr>
          <p:spPr>
            <a:xfrm>
              <a:off x="3045647" y="2150522"/>
              <a:ext cx="1994572" cy="1055209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327BA03C-632F-255E-BCCE-5B3164B0F1B1}"/>
              </a:ext>
            </a:extLst>
          </p:cNvPr>
          <p:cNvGrpSpPr/>
          <p:nvPr/>
        </p:nvGrpSpPr>
        <p:grpSpPr>
          <a:xfrm>
            <a:off x="5436992" y="1827970"/>
            <a:ext cx="1842051" cy="3615319"/>
            <a:chOff x="3724044" y="1142482"/>
            <a:chExt cx="2344986" cy="4498817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FC8AD220-6A03-F05B-0E0D-53CF8FC67EDD}"/>
                </a:ext>
              </a:extLst>
            </p:cNvPr>
            <p:cNvGrpSpPr/>
            <p:nvPr/>
          </p:nvGrpSpPr>
          <p:grpSpPr>
            <a:xfrm>
              <a:off x="3724044" y="1142482"/>
              <a:ext cx="2344986" cy="4498817"/>
              <a:chOff x="5052053" y="1168111"/>
              <a:chExt cx="2344986" cy="4498817"/>
            </a:xfrm>
          </p:grpSpPr>
          <p:grpSp>
            <p:nvGrpSpPr>
              <p:cNvPr id="90" name="Smartphone">
                <a:extLst>
                  <a:ext uri="{FF2B5EF4-FFF2-40B4-BE49-F238E27FC236}">
                    <a16:creationId xmlns:a16="http://schemas.microsoft.com/office/drawing/2014/main" id="{0B980E55-C2FB-F893-90B2-C6F3A0C20C3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52053" y="1168111"/>
                <a:ext cx="2344986" cy="4498817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92" name="Case">
                  <a:extLst>
                    <a:ext uri="{FF2B5EF4-FFF2-40B4-BE49-F238E27FC236}">
                      <a16:creationId xmlns:a16="http://schemas.microsoft.com/office/drawing/2014/main" id="{9C79B7CD-0FAF-0F8C-DCFE-2399FA8CFF0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3" name="Button">
                  <a:extLst>
                    <a:ext uri="{FF2B5EF4-FFF2-40B4-BE49-F238E27FC236}">
                      <a16:creationId xmlns:a16="http://schemas.microsoft.com/office/drawing/2014/main" id="{3659675F-9011-FB37-7508-87E8E898BE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4" name="Camera">
                  <a:extLst>
                    <a:ext uri="{FF2B5EF4-FFF2-40B4-BE49-F238E27FC236}">
                      <a16:creationId xmlns:a16="http://schemas.microsoft.com/office/drawing/2014/main" id="{A4552BD1-BEFA-2F31-2CAE-FFEF75BE06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5" name="Speaker">
                  <a:extLst>
                    <a:ext uri="{FF2B5EF4-FFF2-40B4-BE49-F238E27FC236}">
                      <a16:creationId xmlns:a16="http://schemas.microsoft.com/office/drawing/2014/main" id="{FD746CCE-DFDA-F615-D22C-CBA86F35E8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96" name="Display">
                  <a:extLst>
                    <a:ext uri="{FF2B5EF4-FFF2-40B4-BE49-F238E27FC236}">
                      <a16:creationId xmlns:a16="http://schemas.microsoft.com/office/drawing/2014/main" id="{730FDADB-6177-8D01-CA7D-C22975489E4C}"/>
                    </a:ext>
                  </a:extLst>
                </p:cNvPr>
                <p:cNvSpPr/>
                <p:nvPr/>
              </p:nvSpPr>
              <p:spPr>
                <a:xfrm>
                  <a:off x="9262549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479D5DE3-24FF-C462-A910-D56B5AC5C1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63638" y="1562257"/>
                <a:ext cx="2131867" cy="3744643"/>
              </a:xfrm>
              <a:prstGeom prst="rect">
                <a:avLst/>
              </a:prstGeom>
            </p:spPr>
          </p:pic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83D3AF0-2BDB-946F-193A-A423CAD718FC}"/>
                </a:ext>
              </a:extLst>
            </p:cNvPr>
            <p:cNvSpPr/>
            <p:nvPr/>
          </p:nvSpPr>
          <p:spPr>
            <a:xfrm>
              <a:off x="3862416" y="2225249"/>
              <a:ext cx="1994572" cy="2831383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3581778-09DD-D93E-3A92-C5A470E193BE}"/>
              </a:ext>
            </a:extLst>
          </p:cNvPr>
          <p:cNvGrpSpPr/>
          <p:nvPr/>
        </p:nvGrpSpPr>
        <p:grpSpPr>
          <a:xfrm>
            <a:off x="7123444" y="1841393"/>
            <a:ext cx="1883607" cy="3588471"/>
            <a:chOff x="4480202" y="1137775"/>
            <a:chExt cx="2344986" cy="449881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F671799-6527-2222-0938-9A75714E5719}"/>
                </a:ext>
              </a:extLst>
            </p:cNvPr>
            <p:cNvGrpSpPr/>
            <p:nvPr/>
          </p:nvGrpSpPr>
          <p:grpSpPr>
            <a:xfrm>
              <a:off x="4480202" y="1137775"/>
              <a:ext cx="2344986" cy="4498817"/>
              <a:chOff x="6475328" y="1157669"/>
              <a:chExt cx="2344986" cy="4498817"/>
            </a:xfrm>
          </p:grpSpPr>
          <p:grpSp>
            <p:nvGrpSpPr>
              <p:cNvPr id="58" name="Smartphone">
                <a:extLst>
                  <a:ext uri="{FF2B5EF4-FFF2-40B4-BE49-F238E27FC236}">
                    <a16:creationId xmlns:a16="http://schemas.microsoft.com/office/drawing/2014/main" id="{9B38FD08-7F48-1D84-6A3D-C2CD46676EC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475328" y="1157669"/>
                <a:ext cx="2344986" cy="4498817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60" name="Case">
                  <a:extLst>
                    <a:ext uri="{FF2B5EF4-FFF2-40B4-BE49-F238E27FC236}">
                      <a16:creationId xmlns:a16="http://schemas.microsoft.com/office/drawing/2014/main" id="{EB23F592-5C32-B5D0-01FA-641056B10E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1" name="Button">
                  <a:extLst>
                    <a:ext uri="{FF2B5EF4-FFF2-40B4-BE49-F238E27FC236}">
                      <a16:creationId xmlns:a16="http://schemas.microsoft.com/office/drawing/2014/main" id="{58A9C3D5-F656-6F5A-AB92-61E8893FAB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2" name="Camera">
                  <a:extLst>
                    <a:ext uri="{FF2B5EF4-FFF2-40B4-BE49-F238E27FC236}">
                      <a16:creationId xmlns:a16="http://schemas.microsoft.com/office/drawing/2014/main" id="{2FCF9763-4566-D7B1-2495-7C870953B8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3" name="Speaker">
                  <a:extLst>
                    <a:ext uri="{FF2B5EF4-FFF2-40B4-BE49-F238E27FC236}">
                      <a16:creationId xmlns:a16="http://schemas.microsoft.com/office/drawing/2014/main" id="{9014F14D-C524-92E0-03FE-C8461BF1F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64" name="Display">
                  <a:extLst>
                    <a:ext uri="{FF2B5EF4-FFF2-40B4-BE49-F238E27FC236}">
                      <a16:creationId xmlns:a16="http://schemas.microsoft.com/office/drawing/2014/main" id="{907934DC-F7C1-8795-0EEC-3328BA55CD03}"/>
                    </a:ext>
                  </a:extLst>
                </p:cNvPr>
                <p:cNvSpPr/>
                <p:nvPr/>
              </p:nvSpPr>
              <p:spPr>
                <a:xfrm>
                  <a:off x="9262551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FCFBFFFC-1E55-270A-ED3B-3F47953F6B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562505" y="1542698"/>
                <a:ext cx="2131867" cy="3747917"/>
              </a:xfrm>
              <a:prstGeom prst="rect">
                <a:avLst/>
              </a:prstGeom>
            </p:spPr>
          </p:pic>
        </p:grp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258AF835-A872-5A8B-50B8-65659778F4C2}"/>
                </a:ext>
              </a:extLst>
            </p:cNvPr>
            <p:cNvSpPr/>
            <p:nvPr/>
          </p:nvSpPr>
          <p:spPr>
            <a:xfrm>
              <a:off x="4596489" y="3800254"/>
              <a:ext cx="1994572" cy="1055209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9F798639-4A1C-4F0C-211B-E5E0DFBAFB0A}"/>
              </a:ext>
            </a:extLst>
          </p:cNvPr>
          <p:cNvGrpSpPr/>
          <p:nvPr/>
        </p:nvGrpSpPr>
        <p:grpSpPr>
          <a:xfrm>
            <a:off x="8595529" y="1841392"/>
            <a:ext cx="1883607" cy="3588471"/>
            <a:chOff x="5663544" y="1137774"/>
            <a:chExt cx="2344986" cy="4498817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704D7D3-2D4A-036C-2060-14BA2E321E37}"/>
                </a:ext>
              </a:extLst>
            </p:cNvPr>
            <p:cNvGrpSpPr/>
            <p:nvPr/>
          </p:nvGrpSpPr>
          <p:grpSpPr>
            <a:xfrm>
              <a:off x="5663544" y="1137774"/>
              <a:ext cx="2344986" cy="4498817"/>
              <a:chOff x="8095830" y="1158779"/>
              <a:chExt cx="2344986" cy="4498817"/>
            </a:xfrm>
          </p:grpSpPr>
          <p:grpSp>
            <p:nvGrpSpPr>
              <p:cNvPr id="70" name="Smartphone">
                <a:extLst>
                  <a:ext uri="{FF2B5EF4-FFF2-40B4-BE49-F238E27FC236}">
                    <a16:creationId xmlns:a16="http://schemas.microsoft.com/office/drawing/2014/main" id="{77EF6ED9-096D-619C-A75C-D5254FC288B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095830" y="1158779"/>
                <a:ext cx="2344986" cy="4498817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72" name="Case">
                  <a:extLst>
                    <a:ext uri="{FF2B5EF4-FFF2-40B4-BE49-F238E27FC236}">
                      <a16:creationId xmlns:a16="http://schemas.microsoft.com/office/drawing/2014/main" id="{1D1BD3E7-FBFE-AD46-7318-175C49E9EA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3" name="Button">
                  <a:extLst>
                    <a:ext uri="{FF2B5EF4-FFF2-40B4-BE49-F238E27FC236}">
                      <a16:creationId xmlns:a16="http://schemas.microsoft.com/office/drawing/2014/main" id="{CFD02BD3-EBA8-52D6-98EC-9189C48225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4" name="Camera">
                  <a:extLst>
                    <a:ext uri="{FF2B5EF4-FFF2-40B4-BE49-F238E27FC236}">
                      <a16:creationId xmlns:a16="http://schemas.microsoft.com/office/drawing/2014/main" id="{79CC7E71-783D-A874-AC71-3D1E7419F9E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5" name="Speaker">
                  <a:extLst>
                    <a:ext uri="{FF2B5EF4-FFF2-40B4-BE49-F238E27FC236}">
                      <a16:creationId xmlns:a16="http://schemas.microsoft.com/office/drawing/2014/main" id="{AD5DF89D-8B2E-3374-21AC-86F734463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76" name="Display">
                  <a:extLst>
                    <a:ext uri="{FF2B5EF4-FFF2-40B4-BE49-F238E27FC236}">
                      <a16:creationId xmlns:a16="http://schemas.microsoft.com/office/drawing/2014/main" id="{51C6FF5E-1115-79C7-CC66-6D00D4E592E5}"/>
                    </a:ext>
                  </a:extLst>
                </p:cNvPr>
                <p:cNvSpPr/>
                <p:nvPr/>
              </p:nvSpPr>
              <p:spPr>
                <a:xfrm>
                  <a:off x="9262551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887DC032-178D-173F-3956-BE5F1F9248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205032" y="1542765"/>
                <a:ext cx="2146790" cy="3762556"/>
              </a:xfrm>
              <a:prstGeom prst="rect">
                <a:avLst/>
              </a:prstGeom>
            </p:spPr>
          </p:pic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635C14D2-325A-907F-D8B4-1DAF5FDA08E9}"/>
                </a:ext>
              </a:extLst>
            </p:cNvPr>
            <p:cNvSpPr/>
            <p:nvPr/>
          </p:nvSpPr>
          <p:spPr>
            <a:xfrm>
              <a:off x="5837655" y="2180878"/>
              <a:ext cx="1994572" cy="325042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6FA8E6A6-4B61-5B22-1BCA-11E4652BCFCB}"/>
                </a:ext>
              </a:extLst>
            </p:cNvPr>
            <p:cNvSpPr/>
            <p:nvPr/>
          </p:nvSpPr>
          <p:spPr>
            <a:xfrm>
              <a:off x="5825435" y="2664458"/>
              <a:ext cx="1994572" cy="325042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B87EF8B5-D9F2-059E-E0F1-86A4F506F05F}"/>
                </a:ext>
              </a:extLst>
            </p:cNvPr>
            <p:cNvSpPr/>
            <p:nvPr/>
          </p:nvSpPr>
          <p:spPr>
            <a:xfrm>
              <a:off x="5810091" y="4809820"/>
              <a:ext cx="1994572" cy="325042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0F5F5E54-56CB-266E-90AA-5F96B1671F28}"/>
              </a:ext>
            </a:extLst>
          </p:cNvPr>
          <p:cNvGrpSpPr/>
          <p:nvPr/>
        </p:nvGrpSpPr>
        <p:grpSpPr>
          <a:xfrm>
            <a:off x="10135474" y="1849032"/>
            <a:ext cx="1883607" cy="3588471"/>
            <a:chOff x="6914851" y="1135361"/>
            <a:chExt cx="2344986" cy="4498817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05DD1F64-C9CB-A3C3-0EDE-E400B96336FA}"/>
                </a:ext>
              </a:extLst>
            </p:cNvPr>
            <p:cNvGrpSpPr/>
            <p:nvPr/>
          </p:nvGrpSpPr>
          <p:grpSpPr>
            <a:xfrm>
              <a:off x="6914851" y="1135361"/>
              <a:ext cx="2344986" cy="4498817"/>
              <a:chOff x="7004191" y="1124516"/>
              <a:chExt cx="2344986" cy="4498817"/>
            </a:xfrm>
          </p:grpSpPr>
          <p:grpSp>
            <p:nvGrpSpPr>
              <p:cNvPr id="80" name="Smartphone">
                <a:extLst>
                  <a:ext uri="{FF2B5EF4-FFF2-40B4-BE49-F238E27FC236}">
                    <a16:creationId xmlns:a16="http://schemas.microsoft.com/office/drawing/2014/main" id="{1A0A0012-27CD-B1DA-C6C3-8C441F7588B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004191" y="1124516"/>
                <a:ext cx="2344986" cy="4498817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82" name="Case">
                  <a:extLst>
                    <a:ext uri="{FF2B5EF4-FFF2-40B4-BE49-F238E27FC236}">
                      <a16:creationId xmlns:a16="http://schemas.microsoft.com/office/drawing/2014/main" id="{B5982930-B07A-0DB7-68DA-4677410D33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3" name="Button">
                  <a:extLst>
                    <a:ext uri="{FF2B5EF4-FFF2-40B4-BE49-F238E27FC236}">
                      <a16:creationId xmlns:a16="http://schemas.microsoft.com/office/drawing/2014/main" id="{F21453C6-9A47-28DD-1704-94D7826F0A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4" name="Camera">
                  <a:extLst>
                    <a:ext uri="{FF2B5EF4-FFF2-40B4-BE49-F238E27FC236}">
                      <a16:creationId xmlns:a16="http://schemas.microsoft.com/office/drawing/2014/main" id="{6596CB9E-46EB-EBB1-F999-21BF2F34CF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85" name="Speaker">
                  <a:extLst>
                    <a:ext uri="{FF2B5EF4-FFF2-40B4-BE49-F238E27FC236}">
                      <a16:creationId xmlns:a16="http://schemas.microsoft.com/office/drawing/2014/main" id="{25736DE3-65C9-6E3F-A37A-D7133EE9AF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5" name="Display">
                  <a:extLst>
                    <a:ext uri="{FF2B5EF4-FFF2-40B4-BE49-F238E27FC236}">
                      <a16:creationId xmlns:a16="http://schemas.microsoft.com/office/drawing/2014/main" id="{538EF1E2-419A-2200-092F-837E297F071F}"/>
                    </a:ext>
                  </a:extLst>
                </p:cNvPr>
                <p:cNvSpPr/>
                <p:nvPr/>
              </p:nvSpPr>
              <p:spPr>
                <a:xfrm>
                  <a:off x="9262551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13331C7E-2CF5-B6E0-ED7B-C34CC85742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077491" y="1478829"/>
                <a:ext cx="2178810" cy="3782780"/>
              </a:xfrm>
              <a:prstGeom prst="rect">
                <a:avLst/>
              </a:prstGeom>
            </p:spPr>
          </p:pic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BABADDD4-E1A9-953E-5228-C7EE4F3A4CAF}"/>
                </a:ext>
              </a:extLst>
            </p:cNvPr>
            <p:cNvSpPr/>
            <p:nvPr/>
          </p:nvSpPr>
          <p:spPr>
            <a:xfrm>
              <a:off x="7032371" y="2116406"/>
              <a:ext cx="1994572" cy="325042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</p:grpSp>
    </p:spTree>
    <p:extLst>
      <p:ext uri="{BB962C8B-B14F-4D97-AF65-F5344CB8AC3E}">
        <p14:creationId xmlns:p14="http://schemas.microsoft.com/office/powerpoint/2010/main" val="410226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6215597-B85A-9E9E-95D7-4DD0048F4B32}"/>
              </a:ext>
            </a:extLst>
          </p:cNvPr>
          <p:cNvSpPr txBox="1"/>
          <p:nvPr/>
        </p:nvSpPr>
        <p:spPr>
          <a:xfrm>
            <a:off x="628094" y="281411"/>
            <a:ext cx="766364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4000" dirty="0">
                <a:solidFill>
                  <a:schemeClr val="bg1">
                    <a:lumMod val="95000"/>
                  </a:schemeClr>
                </a:solidFill>
              </a:rPr>
              <a:t>STEP 4: EMAIL CONFIRMATION</a:t>
            </a:r>
            <a:endParaRPr lang="en-ZA" sz="400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4D5D7CC-E9C7-74AB-D3D9-DAC8F0881BC5}"/>
              </a:ext>
            </a:extLst>
          </p:cNvPr>
          <p:cNvGrpSpPr/>
          <p:nvPr/>
        </p:nvGrpSpPr>
        <p:grpSpPr>
          <a:xfrm>
            <a:off x="228219" y="1270209"/>
            <a:ext cx="2441219" cy="4076484"/>
            <a:chOff x="3026956" y="2157587"/>
            <a:chExt cx="2300269" cy="35650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BD475DF-BF5C-F03B-FEFA-416F72563C99}"/>
                </a:ext>
              </a:extLst>
            </p:cNvPr>
            <p:cNvGrpSpPr/>
            <p:nvPr/>
          </p:nvGrpSpPr>
          <p:grpSpPr>
            <a:xfrm>
              <a:off x="3026956" y="2157587"/>
              <a:ext cx="2300269" cy="3565056"/>
              <a:chOff x="8616928" y="1317715"/>
              <a:chExt cx="2344986" cy="4469462"/>
            </a:xfrm>
          </p:grpSpPr>
          <p:grpSp>
            <p:nvGrpSpPr>
              <p:cNvPr id="9" name="Smartphone">
                <a:extLst>
                  <a:ext uri="{FF2B5EF4-FFF2-40B4-BE49-F238E27FC236}">
                    <a16:creationId xmlns:a16="http://schemas.microsoft.com/office/drawing/2014/main" id="{68B4E603-27DD-B196-DC8D-A02E0759E0D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8616928" y="1317715"/>
                <a:ext cx="2344986" cy="4469462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16" name="Case">
                  <a:extLst>
                    <a:ext uri="{FF2B5EF4-FFF2-40B4-BE49-F238E27FC236}">
                      <a16:creationId xmlns:a16="http://schemas.microsoft.com/office/drawing/2014/main" id="{7BF59FC1-23F6-1919-3E9E-EEE796847C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1" name="Button">
                  <a:extLst>
                    <a:ext uri="{FF2B5EF4-FFF2-40B4-BE49-F238E27FC236}">
                      <a16:creationId xmlns:a16="http://schemas.microsoft.com/office/drawing/2014/main" id="{DF5C54C3-A0DF-D5FF-0DFF-D2F1873ED0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2" name="Camera">
                  <a:extLst>
                    <a:ext uri="{FF2B5EF4-FFF2-40B4-BE49-F238E27FC236}">
                      <a16:creationId xmlns:a16="http://schemas.microsoft.com/office/drawing/2014/main" id="{60D859DE-CEC8-701D-CB4F-333621C8CBE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7" name="Speaker">
                  <a:extLst>
                    <a:ext uri="{FF2B5EF4-FFF2-40B4-BE49-F238E27FC236}">
                      <a16:creationId xmlns:a16="http://schemas.microsoft.com/office/drawing/2014/main" id="{2511CADA-B199-2337-BDA7-3AC1C0C2C2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29" name="Display">
                  <a:extLst>
                    <a:ext uri="{FF2B5EF4-FFF2-40B4-BE49-F238E27FC236}">
                      <a16:creationId xmlns:a16="http://schemas.microsoft.com/office/drawing/2014/main" id="{AAB72AE7-F0E5-9190-97FA-414CB7CD10BC}"/>
                    </a:ext>
                  </a:extLst>
                </p:cNvPr>
                <p:cNvSpPr/>
                <p:nvPr/>
              </p:nvSpPr>
              <p:spPr>
                <a:xfrm>
                  <a:off x="9262549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A4EA0F91-F3B7-BC52-C749-F357978D51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8730074" y="1699196"/>
                <a:ext cx="2140466" cy="373800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F4A10A53-00BC-A1B2-375F-0A4F5729AC35}"/>
                </a:ext>
              </a:extLst>
            </p:cNvPr>
            <p:cNvSpPr/>
            <p:nvPr/>
          </p:nvSpPr>
          <p:spPr>
            <a:xfrm>
              <a:off x="3198821" y="3839062"/>
              <a:ext cx="1956537" cy="268823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595D591-A138-681F-4366-B545A897928E}"/>
              </a:ext>
            </a:extLst>
          </p:cNvPr>
          <p:cNvGrpSpPr/>
          <p:nvPr/>
        </p:nvGrpSpPr>
        <p:grpSpPr>
          <a:xfrm>
            <a:off x="3300779" y="1340124"/>
            <a:ext cx="2441219" cy="4006569"/>
            <a:chOff x="2510296" y="2182465"/>
            <a:chExt cx="2300269" cy="360512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071BBD0-7ADD-B0ED-4CFC-66CAB8885232}"/>
                </a:ext>
              </a:extLst>
            </p:cNvPr>
            <p:cNvGrpSpPr/>
            <p:nvPr/>
          </p:nvGrpSpPr>
          <p:grpSpPr>
            <a:xfrm>
              <a:off x="2510296" y="2182465"/>
              <a:ext cx="2300269" cy="3605127"/>
              <a:chOff x="2493660" y="2180833"/>
              <a:chExt cx="2300269" cy="3605127"/>
            </a:xfrm>
          </p:grpSpPr>
          <p:grpSp>
            <p:nvGrpSpPr>
              <p:cNvPr id="36" name="Smartphone">
                <a:extLst>
                  <a:ext uri="{FF2B5EF4-FFF2-40B4-BE49-F238E27FC236}">
                    <a16:creationId xmlns:a16="http://schemas.microsoft.com/office/drawing/2014/main" id="{69BD5900-C52A-031E-68FE-71DD9A9A8EF1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493660" y="2180833"/>
                <a:ext cx="2300269" cy="3605127"/>
                <a:chOff x="9165945" y="1228296"/>
                <a:chExt cx="2479208" cy="4859248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38" name="Case">
                  <a:extLst>
                    <a:ext uri="{FF2B5EF4-FFF2-40B4-BE49-F238E27FC236}">
                      <a16:creationId xmlns:a16="http://schemas.microsoft.com/office/drawing/2014/main" id="{9BC54116-4A57-BC55-0696-7FF3F3D03B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65945" y="1228296"/>
                  <a:ext cx="2479208" cy="4859248"/>
                </a:xfrm>
                <a:custGeom>
                  <a:avLst/>
                  <a:gdLst>
                    <a:gd name="T0" fmla="*/ 403 w 4052"/>
                    <a:gd name="T1" fmla="*/ 0 h 7922"/>
                    <a:gd name="T2" fmla="*/ 3649 w 4052"/>
                    <a:gd name="T3" fmla="*/ 0 h 7922"/>
                    <a:gd name="T4" fmla="*/ 4052 w 4052"/>
                    <a:gd name="T5" fmla="*/ 403 h 7922"/>
                    <a:gd name="T6" fmla="*/ 4052 w 4052"/>
                    <a:gd name="T7" fmla="*/ 7519 h 7922"/>
                    <a:gd name="T8" fmla="*/ 3649 w 4052"/>
                    <a:gd name="T9" fmla="*/ 7922 h 7922"/>
                    <a:gd name="T10" fmla="*/ 403 w 4052"/>
                    <a:gd name="T11" fmla="*/ 7922 h 7922"/>
                    <a:gd name="T12" fmla="*/ 0 w 4052"/>
                    <a:gd name="T13" fmla="*/ 7519 h 7922"/>
                    <a:gd name="T14" fmla="*/ 0 w 4052"/>
                    <a:gd name="T15" fmla="*/ 403 h 7922"/>
                    <a:gd name="T16" fmla="*/ 403 w 4052"/>
                    <a:gd name="T17" fmla="*/ 0 h 79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052" h="7922">
                      <a:moveTo>
                        <a:pt x="403" y="0"/>
                      </a:moveTo>
                      <a:lnTo>
                        <a:pt x="3649" y="0"/>
                      </a:lnTo>
                      <a:cubicBezTo>
                        <a:pt x="3872" y="0"/>
                        <a:pt x="4052" y="179"/>
                        <a:pt x="4052" y="403"/>
                      </a:cubicBezTo>
                      <a:lnTo>
                        <a:pt x="4052" y="7519"/>
                      </a:lnTo>
                      <a:cubicBezTo>
                        <a:pt x="4052" y="7742"/>
                        <a:pt x="3872" y="7922"/>
                        <a:pt x="3649" y="7922"/>
                      </a:cubicBezTo>
                      <a:lnTo>
                        <a:pt x="403" y="7922"/>
                      </a:lnTo>
                      <a:cubicBezTo>
                        <a:pt x="180" y="7922"/>
                        <a:pt x="0" y="7742"/>
                        <a:pt x="0" y="7519"/>
                      </a:cubicBezTo>
                      <a:lnTo>
                        <a:pt x="0" y="403"/>
                      </a:lnTo>
                      <a:cubicBezTo>
                        <a:pt x="0" y="179"/>
                        <a:pt x="180" y="0"/>
                        <a:pt x="403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39" name="Button">
                  <a:extLst>
                    <a:ext uri="{FF2B5EF4-FFF2-40B4-BE49-F238E27FC236}">
                      <a16:creationId xmlns:a16="http://schemas.microsoft.com/office/drawing/2014/main" id="{519B8F4E-4199-F2F5-831D-763E2B15B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61072" y="5811732"/>
                  <a:ext cx="488955" cy="161837"/>
                </a:xfrm>
                <a:custGeom>
                  <a:avLst/>
                  <a:gdLst>
                    <a:gd name="T0" fmla="*/ 131 w 796"/>
                    <a:gd name="T1" fmla="*/ 0 h 262"/>
                    <a:gd name="T2" fmla="*/ 665 w 796"/>
                    <a:gd name="T3" fmla="*/ 0 h 262"/>
                    <a:gd name="T4" fmla="*/ 796 w 796"/>
                    <a:gd name="T5" fmla="*/ 131 h 262"/>
                    <a:gd name="T6" fmla="*/ 665 w 796"/>
                    <a:gd name="T7" fmla="*/ 262 h 262"/>
                    <a:gd name="T8" fmla="*/ 131 w 796"/>
                    <a:gd name="T9" fmla="*/ 262 h 262"/>
                    <a:gd name="T10" fmla="*/ 0 w 796"/>
                    <a:gd name="T11" fmla="*/ 131 h 262"/>
                    <a:gd name="T12" fmla="*/ 131 w 796"/>
                    <a:gd name="T13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6" h="262">
                      <a:moveTo>
                        <a:pt x="131" y="0"/>
                      </a:moveTo>
                      <a:lnTo>
                        <a:pt x="665" y="0"/>
                      </a:lnTo>
                      <a:cubicBezTo>
                        <a:pt x="738" y="0"/>
                        <a:pt x="796" y="59"/>
                        <a:pt x="796" y="131"/>
                      </a:cubicBezTo>
                      <a:cubicBezTo>
                        <a:pt x="796" y="204"/>
                        <a:pt x="738" y="262"/>
                        <a:pt x="665" y="262"/>
                      </a:cubicBezTo>
                      <a:lnTo>
                        <a:pt x="131" y="262"/>
                      </a:lnTo>
                      <a:cubicBezTo>
                        <a:pt x="58" y="262"/>
                        <a:pt x="0" y="204"/>
                        <a:pt x="0" y="131"/>
                      </a:cubicBezTo>
                      <a:cubicBezTo>
                        <a:pt x="0" y="59"/>
                        <a:pt x="58" y="0"/>
                        <a:pt x="131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0" name="Camera">
                  <a:extLst>
                    <a:ext uri="{FF2B5EF4-FFF2-40B4-BE49-F238E27FC236}">
                      <a16:creationId xmlns:a16="http://schemas.microsoft.com/office/drawing/2014/main" id="{7CE680C9-282B-E2F8-2603-D0B423F6BC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31952" y="1352256"/>
                  <a:ext cx="123960" cy="123960"/>
                </a:xfrm>
                <a:prstGeom prst="ellipse">
                  <a:avLst/>
                </a:pr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1" name="Speaker">
                  <a:extLst>
                    <a:ext uri="{FF2B5EF4-FFF2-40B4-BE49-F238E27FC236}">
                      <a16:creationId xmlns:a16="http://schemas.microsoft.com/office/drawing/2014/main" id="{C820A5F5-C65D-E039-9041-E2470EB745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140411" y="1414237"/>
                  <a:ext cx="530275" cy="61980"/>
                </a:xfrm>
                <a:custGeom>
                  <a:avLst/>
                  <a:gdLst>
                    <a:gd name="T0" fmla="*/ 50 w 866"/>
                    <a:gd name="T1" fmla="*/ 0 h 101"/>
                    <a:gd name="T2" fmla="*/ 816 w 866"/>
                    <a:gd name="T3" fmla="*/ 0 h 101"/>
                    <a:gd name="T4" fmla="*/ 866 w 866"/>
                    <a:gd name="T5" fmla="*/ 50 h 101"/>
                    <a:gd name="T6" fmla="*/ 816 w 866"/>
                    <a:gd name="T7" fmla="*/ 101 h 101"/>
                    <a:gd name="T8" fmla="*/ 50 w 866"/>
                    <a:gd name="T9" fmla="*/ 101 h 101"/>
                    <a:gd name="T10" fmla="*/ 0 w 866"/>
                    <a:gd name="T11" fmla="*/ 50 h 101"/>
                    <a:gd name="T12" fmla="*/ 50 w 866"/>
                    <a:gd name="T13" fmla="*/ 0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66" h="101">
                      <a:moveTo>
                        <a:pt x="50" y="0"/>
                      </a:moveTo>
                      <a:lnTo>
                        <a:pt x="816" y="0"/>
                      </a:lnTo>
                      <a:cubicBezTo>
                        <a:pt x="844" y="0"/>
                        <a:pt x="866" y="22"/>
                        <a:pt x="866" y="50"/>
                      </a:cubicBezTo>
                      <a:cubicBezTo>
                        <a:pt x="866" y="78"/>
                        <a:pt x="844" y="101"/>
                        <a:pt x="816" y="101"/>
                      </a:cubicBezTo>
                      <a:lnTo>
                        <a:pt x="50" y="101"/>
                      </a:lnTo>
                      <a:cubicBezTo>
                        <a:pt x="22" y="101"/>
                        <a:pt x="0" y="78"/>
                        <a:pt x="0" y="50"/>
                      </a:cubicBezTo>
                      <a:cubicBezTo>
                        <a:pt x="0" y="22"/>
                        <a:pt x="22" y="0"/>
                        <a:pt x="50" y="0"/>
                      </a:cubicBezTo>
                      <a:close/>
                    </a:path>
                  </a:pathLst>
                </a:custGeom>
                <a:grpFill/>
                <a:ln w="6350" cap="sq">
                  <a:solidFill>
                    <a:srgbClr val="808080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42" name="Display">
                  <a:extLst>
                    <a:ext uri="{FF2B5EF4-FFF2-40B4-BE49-F238E27FC236}">
                      <a16:creationId xmlns:a16="http://schemas.microsoft.com/office/drawing/2014/main" id="{41178581-B8BA-A5D0-6956-06319FE4DDC5}"/>
                    </a:ext>
                  </a:extLst>
                </p:cNvPr>
                <p:cNvSpPr/>
                <p:nvPr/>
              </p:nvSpPr>
              <p:spPr>
                <a:xfrm>
                  <a:off x="9262549" y="1643046"/>
                  <a:ext cx="2286000" cy="4064000"/>
                </a:xfrm>
                <a:prstGeom prst="rect">
                  <a:avLst/>
                </a:prstGeom>
                <a:grpFill/>
                <a:ln w="6350">
                  <a:solidFill>
                    <a:srgbClr val="80808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900" dirty="0">
                    <a:solidFill>
                      <a:srgbClr val="5F5F5F"/>
                    </a:solidFill>
                    <a:latin typeface="Segoe UI" panose="020B0502040204020203" pitchFamily="34" charset="0"/>
                    <a:cs typeface="Segoe UI" panose="020B0502040204020203" pitchFamily="34" charset="0"/>
                  </a:endParaRPr>
                </a:p>
              </p:txBody>
            </p:sp>
          </p:grp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EBB942F0-28F1-26B1-B8EF-FFFECB52A2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93169" y="2479830"/>
                <a:ext cx="2104184" cy="3015124"/>
              </a:xfrm>
              <a:prstGeom prst="rect">
                <a:avLst/>
              </a:prstGeom>
            </p:spPr>
          </p:pic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FDA7EE8-D040-1C1B-4A68-0089C02438C6}"/>
                </a:ext>
              </a:extLst>
            </p:cNvPr>
            <p:cNvSpPr/>
            <p:nvPr/>
          </p:nvSpPr>
          <p:spPr>
            <a:xfrm>
              <a:off x="2640902" y="2815532"/>
              <a:ext cx="2120344" cy="1303909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0564351-AFAE-C30D-D8D0-251B9F249366}"/>
                </a:ext>
              </a:extLst>
            </p:cNvPr>
            <p:cNvSpPr/>
            <p:nvPr/>
          </p:nvSpPr>
          <p:spPr>
            <a:xfrm>
              <a:off x="3671066" y="5292902"/>
              <a:ext cx="1050720" cy="269816"/>
            </a:xfrm>
            <a:prstGeom prst="rect">
              <a:avLst/>
            </a:prstGeom>
            <a:solidFill>
              <a:srgbClr val="FAFAFA">
                <a:alpha val="0"/>
              </a:srgbClr>
            </a:solidFill>
            <a:ln w="38100">
              <a:solidFill>
                <a:srgbClr val="FFC000"/>
              </a:solidFill>
            </a:ln>
            <a:effectLst>
              <a:reflection blurRad="6350" stA="52000" endA="300" endPos="35000" dir="5400000" sy="-100000" algn="bl" rotWithShape="0"/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8" name="Arrow: Down 27">
            <a:extLst>
              <a:ext uri="{FF2B5EF4-FFF2-40B4-BE49-F238E27FC236}">
                <a16:creationId xmlns:a16="http://schemas.microsoft.com/office/drawing/2014/main" id="{C04CC1FA-349E-ED53-8651-C49FCF20ED51}"/>
              </a:ext>
            </a:extLst>
          </p:cNvPr>
          <p:cNvSpPr/>
          <p:nvPr/>
        </p:nvSpPr>
        <p:spPr>
          <a:xfrm rot="16200000">
            <a:off x="6489392" y="2589849"/>
            <a:ext cx="298963" cy="1379339"/>
          </a:xfrm>
          <a:prstGeom prst="downArrow">
            <a:avLst>
              <a:gd name="adj1" fmla="val 13712"/>
              <a:gd name="adj2" fmla="val 52592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EF82B3B-0D5C-40C9-4FE6-22ED629F76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91538" y="1270209"/>
            <a:ext cx="4540458" cy="317176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reflection blurRad="6350" stA="52000" endA="300" endPos="3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184841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DAAB948-9336-C3FF-5DF6-8F84BE991EA7}"/>
              </a:ext>
            </a:extLst>
          </p:cNvPr>
          <p:cNvSpPr txBox="1"/>
          <p:nvPr/>
        </p:nvSpPr>
        <p:spPr>
          <a:xfrm>
            <a:off x="172720" y="0"/>
            <a:ext cx="981456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3200" dirty="0">
                <a:solidFill>
                  <a:schemeClr val="bg1">
                    <a:lumMod val="95000"/>
                  </a:schemeClr>
                </a:solidFill>
              </a:rPr>
              <a:t>STEP 5 ACCESS SUBMISSIONS, REPORTS AND VISUALISATIONS VIA WEB PORTAL</a:t>
            </a:r>
            <a:endParaRPr lang="en-ZA" sz="3200" dirty="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B33138B-DC03-7B83-29A8-0FF2EE423B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836" t="13486" r="27920" b="27388"/>
          <a:stretch/>
        </p:blipFill>
        <p:spPr>
          <a:xfrm>
            <a:off x="567622" y="1350076"/>
            <a:ext cx="5034188" cy="4447042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09AD8F5D-1669-1B54-92CC-4300F73844D5}"/>
              </a:ext>
            </a:extLst>
          </p:cNvPr>
          <p:cNvGrpSpPr/>
          <p:nvPr/>
        </p:nvGrpSpPr>
        <p:grpSpPr>
          <a:xfrm>
            <a:off x="5495278" y="1350076"/>
            <a:ext cx="6125592" cy="4544664"/>
            <a:chOff x="-669851" y="1111855"/>
            <a:chExt cx="13866297" cy="4634289"/>
          </a:xfrm>
        </p:grpSpPr>
        <p:pic>
          <p:nvPicPr>
            <p:cNvPr id="7" name="Picture 6" descr="New Macbook Silver.png">
              <a:extLst>
                <a:ext uri="{FF2B5EF4-FFF2-40B4-BE49-F238E27FC236}">
                  <a16:creationId xmlns:a16="http://schemas.microsoft.com/office/drawing/2014/main" id="{7E36642F-3974-24CD-0244-0871B9A7D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69851" y="1111855"/>
              <a:ext cx="13866297" cy="4634289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D340E0A-82B4-D279-D57B-81878A294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9851" y="1308369"/>
              <a:ext cx="11079127" cy="41426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1342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 - PowerPoint presentation with slide number 2024.pptx" id="{2EBCC4FA-6864-4471-9455-E86B0B3DEC97}" vid="{FA4190A1-B180-42AA-9F90-81802E0B4F12}"/>
    </a:ext>
  </a:extLst>
</a:theme>
</file>

<file path=ppt/theme/theme8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68E506C4FC0A419D26859592C8AD88" ma:contentTypeVersion="14" ma:contentTypeDescription="Create a new document." ma:contentTypeScope="" ma:versionID="f873f701b4327f60fed0948c5b86b030">
  <xsd:schema xmlns:xsd="http://www.w3.org/2001/XMLSchema" xmlns:xs="http://www.w3.org/2001/XMLSchema" xmlns:p="http://schemas.microsoft.com/office/2006/metadata/properties" xmlns:ns3="d371ba27-a096-4a96-90e2-bc68fa6a1642" xmlns:ns4="49424ad4-b36c-49e3-8dc4-5be9ca89f75e" targetNamespace="http://schemas.microsoft.com/office/2006/metadata/properties" ma:root="true" ma:fieldsID="4136c634e483c6c4820145375452afeb" ns3:_="" ns4:_="">
    <xsd:import namespace="d371ba27-a096-4a96-90e2-bc68fa6a1642"/>
    <xsd:import namespace="49424ad4-b36c-49e3-8dc4-5be9ca89f75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71ba27-a096-4a96-90e2-bc68fa6a16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424ad4-b36c-49e3-8dc4-5be9ca89f75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8BC5B0-EE71-4CF4-BCFE-569821E372CF}">
  <ds:schemaRefs>
    <ds:schemaRef ds:uri="http://schemas.microsoft.com/office/infopath/2007/PartnerControls"/>
    <ds:schemaRef ds:uri="http://purl.org/dc/terms/"/>
    <ds:schemaRef ds:uri="http://purl.org/dc/elements/1.1/"/>
    <ds:schemaRef ds:uri="d371ba27-a096-4a96-90e2-bc68fa6a1642"/>
    <ds:schemaRef ds:uri="http://www.w3.org/XML/1998/namespace"/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openxmlformats.org/package/2006/metadata/core-properties"/>
    <ds:schemaRef ds:uri="49424ad4-b36c-49e3-8dc4-5be9ca89f75e"/>
  </ds:schemaRefs>
</ds:datastoreItem>
</file>

<file path=customXml/itemProps2.xml><?xml version="1.0" encoding="utf-8"?>
<ds:datastoreItem xmlns:ds="http://schemas.openxmlformats.org/officeDocument/2006/customXml" ds:itemID="{8D91CB20-7D5B-4E2A-961C-BCABB49C7B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71ba27-a096-4a96-90e2-bc68fa6a1642"/>
    <ds:schemaRef ds:uri="49424ad4-b36c-49e3-8dc4-5be9ca89f75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85814A9-C3FA-4E16-8C56-861F1A82F6D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5</TotalTime>
  <Words>399</Words>
  <Application>Microsoft Office PowerPoint</Application>
  <PresentationFormat>Widescreen</PresentationFormat>
  <Paragraphs>85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Arial</vt:lpstr>
      <vt:lpstr>Calibri</vt:lpstr>
      <vt:lpstr>Century Gothic</vt:lpstr>
      <vt:lpstr>Courier New</vt:lpstr>
      <vt:lpstr>Open Sans Regular</vt:lpstr>
      <vt:lpstr>Segoe UI</vt:lpstr>
      <vt:lpstr>Times New Roman</vt:lpstr>
      <vt:lpstr>Verdana</vt:lpstr>
      <vt:lpstr>Wingdings</vt:lpstr>
      <vt:lpstr>Custom Design</vt:lpstr>
      <vt:lpstr>6_Custom Design</vt:lpstr>
      <vt:lpstr>14_Custom Design</vt:lpstr>
      <vt:lpstr>1_Custom Design</vt:lpstr>
      <vt:lpstr>2_Custom Design</vt:lpstr>
      <vt:lpstr>3_Custom Design</vt:lpstr>
      <vt:lpstr>8_Custom Design</vt:lpstr>
      <vt:lpstr>9_Custom Design</vt:lpstr>
      <vt:lpstr>4_Custom Design</vt:lpstr>
      <vt:lpstr>5_Custom Design</vt:lpstr>
      <vt:lpstr>12_Custom Design</vt:lpstr>
      <vt:lpstr>7_Custom Design</vt:lpstr>
      <vt:lpstr>think-cell Slide</vt:lpstr>
      <vt:lpstr>WALK THROUGH OF THE NATIONAL RTCQI &amp; CLI PROGRAMME – CLI SUPPORT   </vt:lpstr>
      <vt:lpstr>OVERVIEW: THE NATIONAL CLI SUPPORT PLATFORM </vt:lpstr>
      <vt:lpstr>USE FOR THE CLI SUPPORT PLATFORM </vt:lpstr>
      <vt:lpstr>CLI SUPPORT - USER JOURNE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rice AZ. Marsh</dc:creator>
  <cp:lastModifiedBy>Alarice Marsh</cp:lastModifiedBy>
  <cp:revision>170</cp:revision>
  <dcterms:created xsi:type="dcterms:W3CDTF">2020-10-10T09:42:46Z</dcterms:created>
  <dcterms:modified xsi:type="dcterms:W3CDTF">2024-08-21T12:01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68E506C4FC0A419D26859592C8AD88</vt:lpwstr>
  </property>
</Properties>
</file>